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4"/>
  </p:notesMasterIdLst>
  <p:sldIdLst>
    <p:sldId id="259" r:id="rId2"/>
    <p:sldId id="262" r:id="rId3"/>
  </p:sldIdLst>
  <p:sldSz cx="6858000" cy="9906000" type="A4"/>
  <p:notesSz cx="6858000" cy="9144000"/>
  <p:custDataLst>
    <p:tags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F14C3C-EE5B-4F27-99C7-7533D2485734}">
          <p14:sldIdLst>
            <p14:sldId id="259"/>
            <p14:sldId id="262"/>
          </p14:sldIdLst>
        </p14:section>
      </p14:sectionLst>
    </p:ext>
    <p:ext uri="{EFAFB233-063F-42B5-8137-9DF3F51BA10A}">
      <p15:sldGuideLst xmlns:p15="http://schemas.microsoft.com/office/powerpoint/2012/main">
        <p15:guide id="1" pos="144" userDrawn="1">
          <p15:clr>
            <a:srgbClr val="A4A3A4"/>
          </p15:clr>
        </p15:guide>
        <p15:guide id="2" orient="horz"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6004"/>
    <a:srgbClr val="4E7039"/>
    <a:srgbClr val="338B0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113D21-A4F0-4C83-A698-9B262FFC7BA6}" v="1651" dt="2025-10-10T15:13:13.8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5" autoAdjust="0"/>
    <p:restoredTop sz="94660"/>
  </p:normalViewPr>
  <p:slideViewPr>
    <p:cSldViewPr snapToGrid="0">
      <p:cViewPr varScale="1">
        <p:scale>
          <a:sx n="67" d="100"/>
          <a:sy n="67" d="100"/>
        </p:scale>
        <p:origin x="2634" y="90"/>
      </p:cViewPr>
      <p:guideLst>
        <p:guide pos="144"/>
        <p:guide orient="horz"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10" Type="http://schemas.microsoft.com/office/2015/10/relationships/revisionInfo" Target="revisionInfo.xml"/><Relationship Id="rId4" Type="http://schemas.openxmlformats.org/officeDocument/2006/relationships/notesMaster" Target="notesMasters/notesMaster1.xml"/><Relationship Id="rId9"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Graph '!$Q$1</c:f>
              <c:strCache>
                <c:ptCount val="1"/>
                <c:pt idx="0">
                  <c:v>Portfolio return USD</c:v>
                </c:pt>
              </c:strCache>
            </c:strRef>
          </c:tx>
          <c:spPr>
            <a:ln w="12700" cap="rnd">
              <a:solidFill>
                <a:srgbClr val="92D050"/>
              </a:solidFill>
              <a:prstDash val="solid"/>
              <a:round/>
            </a:ln>
            <a:effectLst/>
          </c:spPr>
          <c:marker>
            <c:symbol val="none"/>
          </c:marker>
          <c:cat>
            <c:numRef>
              <c:f>'Graph '!$P$2:$P$1022</c:f>
              <c:numCache>
                <c:formatCode>m/d/yyyy</c:formatCode>
                <c:ptCount val="1021"/>
                <c:pt idx="0">
                  <c:v>45930</c:v>
                </c:pt>
                <c:pt idx="1">
                  <c:v>45929</c:v>
                </c:pt>
                <c:pt idx="2">
                  <c:v>45926</c:v>
                </c:pt>
                <c:pt idx="3">
                  <c:v>45925</c:v>
                </c:pt>
                <c:pt idx="4">
                  <c:v>45924</c:v>
                </c:pt>
                <c:pt idx="5">
                  <c:v>45923</c:v>
                </c:pt>
                <c:pt idx="6">
                  <c:v>45922</c:v>
                </c:pt>
                <c:pt idx="7">
                  <c:v>45919</c:v>
                </c:pt>
                <c:pt idx="8">
                  <c:v>45918</c:v>
                </c:pt>
                <c:pt idx="9">
                  <c:v>45917</c:v>
                </c:pt>
                <c:pt idx="10">
                  <c:v>45916</c:v>
                </c:pt>
                <c:pt idx="11">
                  <c:v>45915</c:v>
                </c:pt>
                <c:pt idx="12">
                  <c:v>45912</c:v>
                </c:pt>
                <c:pt idx="13">
                  <c:v>45911</c:v>
                </c:pt>
                <c:pt idx="14">
                  <c:v>45910</c:v>
                </c:pt>
                <c:pt idx="15">
                  <c:v>45909</c:v>
                </c:pt>
                <c:pt idx="16">
                  <c:v>45908</c:v>
                </c:pt>
                <c:pt idx="17">
                  <c:v>45905</c:v>
                </c:pt>
                <c:pt idx="18">
                  <c:v>45904</c:v>
                </c:pt>
                <c:pt idx="19">
                  <c:v>45903</c:v>
                </c:pt>
                <c:pt idx="20">
                  <c:v>45902</c:v>
                </c:pt>
                <c:pt idx="21">
                  <c:v>45898</c:v>
                </c:pt>
                <c:pt idx="22">
                  <c:v>45897</c:v>
                </c:pt>
                <c:pt idx="23">
                  <c:v>45896</c:v>
                </c:pt>
                <c:pt idx="24">
                  <c:v>45895</c:v>
                </c:pt>
                <c:pt idx="25">
                  <c:v>45894</c:v>
                </c:pt>
                <c:pt idx="26">
                  <c:v>45891</c:v>
                </c:pt>
                <c:pt idx="27">
                  <c:v>45890</c:v>
                </c:pt>
                <c:pt idx="28">
                  <c:v>45889</c:v>
                </c:pt>
                <c:pt idx="29">
                  <c:v>45888</c:v>
                </c:pt>
                <c:pt idx="30">
                  <c:v>45887</c:v>
                </c:pt>
                <c:pt idx="31">
                  <c:v>45884</c:v>
                </c:pt>
                <c:pt idx="32">
                  <c:v>45883</c:v>
                </c:pt>
                <c:pt idx="33">
                  <c:v>45882</c:v>
                </c:pt>
                <c:pt idx="34">
                  <c:v>45881</c:v>
                </c:pt>
                <c:pt idx="35">
                  <c:v>45880</c:v>
                </c:pt>
                <c:pt idx="36">
                  <c:v>45877</c:v>
                </c:pt>
                <c:pt idx="37">
                  <c:v>45876</c:v>
                </c:pt>
                <c:pt idx="38">
                  <c:v>45875</c:v>
                </c:pt>
                <c:pt idx="39">
                  <c:v>45874</c:v>
                </c:pt>
                <c:pt idx="40">
                  <c:v>45873</c:v>
                </c:pt>
                <c:pt idx="41">
                  <c:v>45870</c:v>
                </c:pt>
                <c:pt idx="42">
                  <c:v>45869</c:v>
                </c:pt>
                <c:pt idx="43">
                  <c:v>45868</c:v>
                </c:pt>
                <c:pt idx="44">
                  <c:v>45867</c:v>
                </c:pt>
                <c:pt idx="45">
                  <c:v>45866</c:v>
                </c:pt>
                <c:pt idx="46">
                  <c:v>45863</c:v>
                </c:pt>
                <c:pt idx="47">
                  <c:v>45862</c:v>
                </c:pt>
                <c:pt idx="48">
                  <c:v>45861</c:v>
                </c:pt>
                <c:pt idx="49">
                  <c:v>45860</c:v>
                </c:pt>
                <c:pt idx="50">
                  <c:v>45859</c:v>
                </c:pt>
                <c:pt idx="51">
                  <c:v>45856</c:v>
                </c:pt>
                <c:pt idx="52">
                  <c:v>45855</c:v>
                </c:pt>
                <c:pt idx="53">
                  <c:v>45854</c:v>
                </c:pt>
                <c:pt idx="54">
                  <c:v>45853</c:v>
                </c:pt>
                <c:pt idx="55">
                  <c:v>45852</c:v>
                </c:pt>
                <c:pt idx="56">
                  <c:v>45849</c:v>
                </c:pt>
                <c:pt idx="57">
                  <c:v>45848</c:v>
                </c:pt>
                <c:pt idx="58">
                  <c:v>45847</c:v>
                </c:pt>
                <c:pt idx="59">
                  <c:v>45846</c:v>
                </c:pt>
                <c:pt idx="60">
                  <c:v>45845</c:v>
                </c:pt>
                <c:pt idx="61">
                  <c:v>45841</c:v>
                </c:pt>
                <c:pt idx="62">
                  <c:v>45840</c:v>
                </c:pt>
                <c:pt idx="63">
                  <c:v>45839</c:v>
                </c:pt>
                <c:pt idx="64">
                  <c:v>45838</c:v>
                </c:pt>
                <c:pt idx="65">
                  <c:v>45835</c:v>
                </c:pt>
                <c:pt idx="66">
                  <c:v>45834</c:v>
                </c:pt>
                <c:pt idx="67">
                  <c:v>45833</c:v>
                </c:pt>
                <c:pt idx="68">
                  <c:v>45832</c:v>
                </c:pt>
                <c:pt idx="69">
                  <c:v>45831</c:v>
                </c:pt>
                <c:pt idx="70">
                  <c:v>45828</c:v>
                </c:pt>
                <c:pt idx="71">
                  <c:v>45826</c:v>
                </c:pt>
                <c:pt idx="72">
                  <c:v>45825</c:v>
                </c:pt>
                <c:pt idx="73">
                  <c:v>45824</c:v>
                </c:pt>
                <c:pt idx="74">
                  <c:v>45821</c:v>
                </c:pt>
                <c:pt idx="75">
                  <c:v>45820</c:v>
                </c:pt>
                <c:pt idx="76">
                  <c:v>45819</c:v>
                </c:pt>
                <c:pt idx="77">
                  <c:v>45818</c:v>
                </c:pt>
                <c:pt idx="78">
                  <c:v>45817</c:v>
                </c:pt>
                <c:pt idx="79">
                  <c:v>45814</c:v>
                </c:pt>
                <c:pt idx="80">
                  <c:v>45813</c:v>
                </c:pt>
                <c:pt idx="81">
                  <c:v>45812</c:v>
                </c:pt>
                <c:pt idx="82">
                  <c:v>45811</c:v>
                </c:pt>
                <c:pt idx="83">
                  <c:v>45810</c:v>
                </c:pt>
                <c:pt idx="84">
                  <c:v>45807</c:v>
                </c:pt>
                <c:pt idx="85">
                  <c:v>45806</c:v>
                </c:pt>
                <c:pt idx="86">
                  <c:v>45805</c:v>
                </c:pt>
                <c:pt idx="87">
                  <c:v>45804</c:v>
                </c:pt>
                <c:pt idx="88">
                  <c:v>45800</c:v>
                </c:pt>
                <c:pt idx="89">
                  <c:v>45799</c:v>
                </c:pt>
                <c:pt idx="90">
                  <c:v>45798</c:v>
                </c:pt>
                <c:pt idx="91">
                  <c:v>45797</c:v>
                </c:pt>
                <c:pt idx="92">
                  <c:v>45796</c:v>
                </c:pt>
                <c:pt idx="93">
                  <c:v>45793</c:v>
                </c:pt>
                <c:pt idx="94">
                  <c:v>45792</c:v>
                </c:pt>
                <c:pt idx="95">
                  <c:v>45791</c:v>
                </c:pt>
                <c:pt idx="96">
                  <c:v>45790</c:v>
                </c:pt>
                <c:pt idx="97">
                  <c:v>45789</c:v>
                </c:pt>
                <c:pt idx="98">
                  <c:v>45786</c:v>
                </c:pt>
                <c:pt idx="99">
                  <c:v>45785</c:v>
                </c:pt>
                <c:pt idx="100">
                  <c:v>45784</c:v>
                </c:pt>
                <c:pt idx="101">
                  <c:v>45783</c:v>
                </c:pt>
                <c:pt idx="102">
                  <c:v>45782</c:v>
                </c:pt>
                <c:pt idx="103">
                  <c:v>45779</c:v>
                </c:pt>
                <c:pt idx="104">
                  <c:v>45778</c:v>
                </c:pt>
                <c:pt idx="105">
                  <c:v>45777</c:v>
                </c:pt>
                <c:pt idx="106">
                  <c:v>45776</c:v>
                </c:pt>
                <c:pt idx="107">
                  <c:v>45775</c:v>
                </c:pt>
                <c:pt idx="108">
                  <c:v>45772</c:v>
                </c:pt>
                <c:pt idx="109">
                  <c:v>45771</c:v>
                </c:pt>
                <c:pt idx="110">
                  <c:v>45770</c:v>
                </c:pt>
                <c:pt idx="111">
                  <c:v>45769</c:v>
                </c:pt>
                <c:pt idx="112">
                  <c:v>45768</c:v>
                </c:pt>
                <c:pt idx="113">
                  <c:v>45764</c:v>
                </c:pt>
                <c:pt idx="114">
                  <c:v>45763</c:v>
                </c:pt>
                <c:pt idx="115">
                  <c:v>45762</c:v>
                </c:pt>
                <c:pt idx="116">
                  <c:v>45761</c:v>
                </c:pt>
                <c:pt idx="117">
                  <c:v>45758</c:v>
                </c:pt>
                <c:pt idx="118">
                  <c:v>45757</c:v>
                </c:pt>
                <c:pt idx="119">
                  <c:v>45756</c:v>
                </c:pt>
                <c:pt idx="120">
                  <c:v>45755</c:v>
                </c:pt>
                <c:pt idx="121">
                  <c:v>45754</c:v>
                </c:pt>
                <c:pt idx="122">
                  <c:v>45751</c:v>
                </c:pt>
                <c:pt idx="123">
                  <c:v>45750</c:v>
                </c:pt>
                <c:pt idx="124">
                  <c:v>45749</c:v>
                </c:pt>
                <c:pt idx="125">
                  <c:v>45748</c:v>
                </c:pt>
                <c:pt idx="126">
                  <c:v>45747</c:v>
                </c:pt>
                <c:pt idx="127">
                  <c:v>45744</c:v>
                </c:pt>
                <c:pt idx="128">
                  <c:v>45743</c:v>
                </c:pt>
                <c:pt idx="129">
                  <c:v>45742</c:v>
                </c:pt>
                <c:pt idx="130">
                  <c:v>45741</c:v>
                </c:pt>
                <c:pt idx="131">
                  <c:v>45740</c:v>
                </c:pt>
                <c:pt idx="132">
                  <c:v>45737</c:v>
                </c:pt>
                <c:pt idx="133">
                  <c:v>45736</c:v>
                </c:pt>
                <c:pt idx="134">
                  <c:v>45735</c:v>
                </c:pt>
                <c:pt idx="135">
                  <c:v>45734</c:v>
                </c:pt>
                <c:pt idx="136">
                  <c:v>45733</c:v>
                </c:pt>
                <c:pt idx="137">
                  <c:v>45730</c:v>
                </c:pt>
                <c:pt idx="138">
                  <c:v>45729</c:v>
                </c:pt>
                <c:pt idx="139">
                  <c:v>45728</c:v>
                </c:pt>
                <c:pt idx="140">
                  <c:v>45727</c:v>
                </c:pt>
                <c:pt idx="141">
                  <c:v>45726</c:v>
                </c:pt>
                <c:pt idx="142">
                  <c:v>45723</c:v>
                </c:pt>
                <c:pt idx="143">
                  <c:v>45722</c:v>
                </c:pt>
                <c:pt idx="144">
                  <c:v>45721</c:v>
                </c:pt>
                <c:pt idx="145">
                  <c:v>45720</c:v>
                </c:pt>
                <c:pt idx="146">
                  <c:v>45719</c:v>
                </c:pt>
                <c:pt idx="147">
                  <c:v>45716</c:v>
                </c:pt>
                <c:pt idx="148">
                  <c:v>45715</c:v>
                </c:pt>
                <c:pt idx="149">
                  <c:v>45714</c:v>
                </c:pt>
                <c:pt idx="150">
                  <c:v>45713</c:v>
                </c:pt>
                <c:pt idx="151">
                  <c:v>45712</c:v>
                </c:pt>
                <c:pt idx="152">
                  <c:v>45709</c:v>
                </c:pt>
                <c:pt idx="153">
                  <c:v>45708</c:v>
                </c:pt>
                <c:pt idx="154">
                  <c:v>45707</c:v>
                </c:pt>
                <c:pt idx="155">
                  <c:v>45706</c:v>
                </c:pt>
                <c:pt idx="156">
                  <c:v>45702</c:v>
                </c:pt>
                <c:pt idx="157">
                  <c:v>45701</c:v>
                </c:pt>
                <c:pt idx="158">
                  <c:v>45700</c:v>
                </c:pt>
                <c:pt idx="159">
                  <c:v>45699</c:v>
                </c:pt>
                <c:pt idx="160">
                  <c:v>45698</c:v>
                </c:pt>
                <c:pt idx="161">
                  <c:v>45695</c:v>
                </c:pt>
                <c:pt idx="162">
                  <c:v>45694</c:v>
                </c:pt>
                <c:pt idx="163">
                  <c:v>45693</c:v>
                </c:pt>
                <c:pt idx="164">
                  <c:v>45692</c:v>
                </c:pt>
                <c:pt idx="165">
                  <c:v>45691</c:v>
                </c:pt>
                <c:pt idx="166">
                  <c:v>45688</c:v>
                </c:pt>
                <c:pt idx="167">
                  <c:v>45687</c:v>
                </c:pt>
                <c:pt idx="168">
                  <c:v>45686</c:v>
                </c:pt>
                <c:pt idx="169">
                  <c:v>45685</c:v>
                </c:pt>
                <c:pt idx="170">
                  <c:v>45684</c:v>
                </c:pt>
                <c:pt idx="171">
                  <c:v>45681</c:v>
                </c:pt>
                <c:pt idx="172">
                  <c:v>45680</c:v>
                </c:pt>
                <c:pt idx="173">
                  <c:v>45679</c:v>
                </c:pt>
                <c:pt idx="174">
                  <c:v>45678</c:v>
                </c:pt>
                <c:pt idx="175">
                  <c:v>45674</c:v>
                </c:pt>
                <c:pt idx="176">
                  <c:v>45673</c:v>
                </c:pt>
                <c:pt idx="177">
                  <c:v>45672</c:v>
                </c:pt>
                <c:pt idx="178">
                  <c:v>45671</c:v>
                </c:pt>
                <c:pt idx="179">
                  <c:v>45670</c:v>
                </c:pt>
                <c:pt idx="180">
                  <c:v>45667</c:v>
                </c:pt>
                <c:pt idx="181">
                  <c:v>45665</c:v>
                </c:pt>
                <c:pt idx="182">
                  <c:v>45664</c:v>
                </c:pt>
                <c:pt idx="183">
                  <c:v>45663</c:v>
                </c:pt>
                <c:pt idx="184">
                  <c:v>45660</c:v>
                </c:pt>
                <c:pt idx="185">
                  <c:v>45659</c:v>
                </c:pt>
                <c:pt idx="186">
                  <c:v>45657</c:v>
                </c:pt>
                <c:pt idx="187">
                  <c:v>45656</c:v>
                </c:pt>
                <c:pt idx="188">
                  <c:v>45653</c:v>
                </c:pt>
                <c:pt idx="189">
                  <c:v>45652</c:v>
                </c:pt>
                <c:pt idx="190">
                  <c:v>45650</c:v>
                </c:pt>
                <c:pt idx="191">
                  <c:v>45649</c:v>
                </c:pt>
                <c:pt idx="192">
                  <c:v>45646</c:v>
                </c:pt>
                <c:pt idx="193">
                  <c:v>45645</c:v>
                </c:pt>
                <c:pt idx="194">
                  <c:v>45644</c:v>
                </c:pt>
                <c:pt idx="195">
                  <c:v>45643</c:v>
                </c:pt>
                <c:pt idx="196">
                  <c:v>45642</c:v>
                </c:pt>
                <c:pt idx="197">
                  <c:v>45639</c:v>
                </c:pt>
                <c:pt idx="198">
                  <c:v>45638</c:v>
                </c:pt>
                <c:pt idx="199">
                  <c:v>45637</c:v>
                </c:pt>
                <c:pt idx="200">
                  <c:v>45636</c:v>
                </c:pt>
                <c:pt idx="201">
                  <c:v>45635</c:v>
                </c:pt>
                <c:pt idx="202">
                  <c:v>45632</c:v>
                </c:pt>
                <c:pt idx="203">
                  <c:v>45631</c:v>
                </c:pt>
                <c:pt idx="204">
                  <c:v>45630</c:v>
                </c:pt>
                <c:pt idx="205">
                  <c:v>45629</c:v>
                </c:pt>
                <c:pt idx="206">
                  <c:v>45628</c:v>
                </c:pt>
                <c:pt idx="207">
                  <c:v>45625</c:v>
                </c:pt>
                <c:pt idx="208">
                  <c:v>45623</c:v>
                </c:pt>
                <c:pt idx="209">
                  <c:v>45622</c:v>
                </c:pt>
                <c:pt idx="210">
                  <c:v>45621</c:v>
                </c:pt>
                <c:pt idx="211">
                  <c:v>45618</c:v>
                </c:pt>
                <c:pt idx="212">
                  <c:v>45617</c:v>
                </c:pt>
                <c:pt idx="213">
                  <c:v>45616</c:v>
                </c:pt>
                <c:pt idx="214">
                  <c:v>45615</c:v>
                </c:pt>
                <c:pt idx="215">
                  <c:v>45614</c:v>
                </c:pt>
                <c:pt idx="216">
                  <c:v>45611</c:v>
                </c:pt>
                <c:pt idx="217">
                  <c:v>45610</c:v>
                </c:pt>
                <c:pt idx="218">
                  <c:v>45609</c:v>
                </c:pt>
                <c:pt idx="219">
                  <c:v>45608</c:v>
                </c:pt>
                <c:pt idx="220">
                  <c:v>45607</c:v>
                </c:pt>
                <c:pt idx="221">
                  <c:v>45604</c:v>
                </c:pt>
                <c:pt idx="222">
                  <c:v>45603</c:v>
                </c:pt>
                <c:pt idx="223">
                  <c:v>45602</c:v>
                </c:pt>
                <c:pt idx="224">
                  <c:v>45601</c:v>
                </c:pt>
                <c:pt idx="225">
                  <c:v>45600</c:v>
                </c:pt>
                <c:pt idx="226">
                  <c:v>45597</c:v>
                </c:pt>
                <c:pt idx="227">
                  <c:v>45596</c:v>
                </c:pt>
                <c:pt idx="228">
                  <c:v>45595</c:v>
                </c:pt>
                <c:pt idx="229">
                  <c:v>45594</c:v>
                </c:pt>
                <c:pt idx="230">
                  <c:v>45593</c:v>
                </c:pt>
                <c:pt idx="231">
                  <c:v>45590</c:v>
                </c:pt>
                <c:pt idx="232">
                  <c:v>45589</c:v>
                </c:pt>
                <c:pt idx="233">
                  <c:v>45588</c:v>
                </c:pt>
                <c:pt idx="234">
                  <c:v>45587</c:v>
                </c:pt>
                <c:pt idx="235">
                  <c:v>45586</c:v>
                </c:pt>
                <c:pt idx="236">
                  <c:v>45583</c:v>
                </c:pt>
                <c:pt idx="237">
                  <c:v>45582</c:v>
                </c:pt>
                <c:pt idx="238">
                  <c:v>45581</c:v>
                </c:pt>
                <c:pt idx="239">
                  <c:v>45580</c:v>
                </c:pt>
                <c:pt idx="240">
                  <c:v>45579</c:v>
                </c:pt>
                <c:pt idx="241">
                  <c:v>45576</c:v>
                </c:pt>
                <c:pt idx="242">
                  <c:v>45575</c:v>
                </c:pt>
                <c:pt idx="243">
                  <c:v>45574</c:v>
                </c:pt>
                <c:pt idx="244">
                  <c:v>45573</c:v>
                </c:pt>
                <c:pt idx="245">
                  <c:v>45572</c:v>
                </c:pt>
                <c:pt idx="246">
                  <c:v>45569</c:v>
                </c:pt>
                <c:pt idx="247">
                  <c:v>45568</c:v>
                </c:pt>
                <c:pt idx="248">
                  <c:v>45567</c:v>
                </c:pt>
                <c:pt idx="249">
                  <c:v>45566</c:v>
                </c:pt>
                <c:pt idx="250">
                  <c:v>45565</c:v>
                </c:pt>
                <c:pt idx="251">
                  <c:v>45562</c:v>
                </c:pt>
                <c:pt idx="252">
                  <c:v>45561</c:v>
                </c:pt>
                <c:pt idx="253">
                  <c:v>45560</c:v>
                </c:pt>
                <c:pt idx="254">
                  <c:v>45559</c:v>
                </c:pt>
                <c:pt idx="255">
                  <c:v>45558</c:v>
                </c:pt>
                <c:pt idx="256">
                  <c:v>45555</c:v>
                </c:pt>
                <c:pt idx="257">
                  <c:v>45554</c:v>
                </c:pt>
                <c:pt idx="258">
                  <c:v>45553</c:v>
                </c:pt>
                <c:pt idx="259">
                  <c:v>45552</c:v>
                </c:pt>
                <c:pt idx="260">
                  <c:v>45551</c:v>
                </c:pt>
                <c:pt idx="261">
                  <c:v>45548</c:v>
                </c:pt>
                <c:pt idx="262">
                  <c:v>45547</c:v>
                </c:pt>
                <c:pt idx="263">
                  <c:v>45546</c:v>
                </c:pt>
                <c:pt idx="264">
                  <c:v>45545</c:v>
                </c:pt>
                <c:pt idx="265">
                  <c:v>45544</c:v>
                </c:pt>
                <c:pt idx="266">
                  <c:v>45541</c:v>
                </c:pt>
                <c:pt idx="267">
                  <c:v>45540</c:v>
                </c:pt>
                <c:pt idx="268">
                  <c:v>45539</c:v>
                </c:pt>
                <c:pt idx="269">
                  <c:v>45538</c:v>
                </c:pt>
                <c:pt idx="270">
                  <c:v>45534</c:v>
                </c:pt>
                <c:pt idx="271">
                  <c:v>45533</c:v>
                </c:pt>
                <c:pt idx="272">
                  <c:v>45532</c:v>
                </c:pt>
                <c:pt idx="273">
                  <c:v>45531</c:v>
                </c:pt>
                <c:pt idx="274">
                  <c:v>45530</c:v>
                </c:pt>
                <c:pt idx="275">
                  <c:v>45527</c:v>
                </c:pt>
                <c:pt idx="276">
                  <c:v>45526</c:v>
                </c:pt>
                <c:pt idx="277">
                  <c:v>45525</c:v>
                </c:pt>
                <c:pt idx="278">
                  <c:v>45524</c:v>
                </c:pt>
                <c:pt idx="279">
                  <c:v>45523</c:v>
                </c:pt>
                <c:pt idx="280">
                  <c:v>45520</c:v>
                </c:pt>
                <c:pt idx="281">
                  <c:v>45519</c:v>
                </c:pt>
                <c:pt idx="282">
                  <c:v>45518</c:v>
                </c:pt>
                <c:pt idx="283">
                  <c:v>45517</c:v>
                </c:pt>
                <c:pt idx="284">
                  <c:v>45516</c:v>
                </c:pt>
                <c:pt idx="285">
                  <c:v>45513</c:v>
                </c:pt>
                <c:pt idx="286">
                  <c:v>45512</c:v>
                </c:pt>
                <c:pt idx="287">
                  <c:v>45511</c:v>
                </c:pt>
                <c:pt idx="288">
                  <c:v>45510</c:v>
                </c:pt>
                <c:pt idx="289">
                  <c:v>45509</c:v>
                </c:pt>
                <c:pt idx="290">
                  <c:v>45506</c:v>
                </c:pt>
                <c:pt idx="291">
                  <c:v>45505</c:v>
                </c:pt>
                <c:pt idx="292">
                  <c:v>45504</c:v>
                </c:pt>
                <c:pt idx="293">
                  <c:v>45503</c:v>
                </c:pt>
                <c:pt idx="294">
                  <c:v>45502</c:v>
                </c:pt>
                <c:pt idx="295">
                  <c:v>45499</c:v>
                </c:pt>
                <c:pt idx="296">
                  <c:v>45498</c:v>
                </c:pt>
                <c:pt idx="297">
                  <c:v>45497</c:v>
                </c:pt>
                <c:pt idx="298">
                  <c:v>45496</c:v>
                </c:pt>
                <c:pt idx="299">
                  <c:v>45495</c:v>
                </c:pt>
                <c:pt idx="300">
                  <c:v>45492</c:v>
                </c:pt>
                <c:pt idx="301">
                  <c:v>45491</c:v>
                </c:pt>
                <c:pt idx="302">
                  <c:v>45490</c:v>
                </c:pt>
                <c:pt idx="303">
                  <c:v>45489</c:v>
                </c:pt>
                <c:pt idx="304">
                  <c:v>45488</c:v>
                </c:pt>
                <c:pt idx="305">
                  <c:v>45485</c:v>
                </c:pt>
                <c:pt idx="306">
                  <c:v>45484</c:v>
                </c:pt>
                <c:pt idx="307">
                  <c:v>45483</c:v>
                </c:pt>
                <c:pt idx="308">
                  <c:v>45482</c:v>
                </c:pt>
                <c:pt idx="309">
                  <c:v>45481</c:v>
                </c:pt>
                <c:pt idx="310">
                  <c:v>45478</c:v>
                </c:pt>
                <c:pt idx="311">
                  <c:v>45476</c:v>
                </c:pt>
                <c:pt idx="312">
                  <c:v>45475</c:v>
                </c:pt>
                <c:pt idx="313">
                  <c:v>45474</c:v>
                </c:pt>
                <c:pt idx="314">
                  <c:v>45471</c:v>
                </c:pt>
                <c:pt idx="315">
                  <c:v>45470</c:v>
                </c:pt>
                <c:pt idx="316">
                  <c:v>45469</c:v>
                </c:pt>
                <c:pt idx="317">
                  <c:v>45468</c:v>
                </c:pt>
                <c:pt idx="318">
                  <c:v>45467</c:v>
                </c:pt>
                <c:pt idx="319">
                  <c:v>45464</c:v>
                </c:pt>
                <c:pt idx="320">
                  <c:v>45463</c:v>
                </c:pt>
                <c:pt idx="321">
                  <c:v>45461</c:v>
                </c:pt>
                <c:pt idx="322">
                  <c:v>45460</c:v>
                </c:pt>
                <c:pt idx="323">
                  <c:v>45457</c:v>
                </c:pt>
                <c:pt idx="324">
                  <c:v>45456</c:v>
                </c:pt>
                <c:pt idx="325">
                  <c:v>45455</c:v>
                </c:pt>
                <c:pt idx="326">
                  <c:v>45454</c:v>
                </c:pt>
                <c:pt idx="327">
                  <c:v>45453</c:v>
                </c:pt>
                <c:pt idx="328">
                  <c:v>45450</c:v>
                </c:pt>
                <c:pt idx="329">
                  <c:v>45449</c:v>
                </c:pt>
                <c:pt idx="330">
                  <c:v>45448</c:v>
                </c:pt>
                <c:pt idx="331">
                  <c:v>45447</c:v>
                </c:pt>
                <c:pt idx="332">
                  <c:v>45446</c:v>
                </c:pt>
                <c:pt idx="333">
                  <c:v>45443</c:v>
                </c:pt>
                <c:pt idx="334">
                  <c:v>45442</c:v>
                </c:pt>
                <c:pt idx="335">
                  <c:v>45441</c:v>
                </c:pt>
                <c:pt idx="336">
                  <c:v>45440</c:v>
                </c:pt>
                <c:pt idx="337">
                  <c:v>45439</c:v>
                </c:pt>
                <c:pt idx="338">
                  <c:v>45435</c:v>
                </c:pt>
                <c:pt idx="339">
                  <c:v>45434</c:v>
                </c:pt>
                <c:pt idx="340">
                  <c:v>45433</c:v>
                </c:pt>
                <c:pt idx="341">
                  <c:v>45432</c:v>
                </c:pt>
                <c:pt idx="342">
                  <c:v>45429</c:v>
                </c:pt>
                <c:pt idx="343">
                  <c:v>45428</c:v>
                </c:pt>
                <c:pt idx="344">
                  <c:v>45427</c:v>
                </c:pt>
                <c:pt idx="345">
                  <c:v>45426</c:v>
                </c:pt>
                <c:pt idx="346">
                  <c:v>45425</c:v>
                </c:pt>
                <c:pt idx="347">
                  <c:v>45422</c:v>
                </c:pt>
                <c:pt idx="348">
                  <c:v>45421</c:v>
                </c:pt>
                <c:pt idx="349">
                  <c:v>45420</c:v>
                </c:pt>
                <c:pt idx="350">
                  <c:v>45419</c:v>
                </c:pt>
                <c:pt idx="351">
                  <c:v>45418</c:v>
                </c:pt>
                <c:pt idx="352">
                  <c:v>45415</c:v>
                </c:pt>
                <c:pt idx="353">
                  <c:v>45414</c:v>
                </c:pt>
                <c:pt idx="354">
                  <c:v>45413</c:v>
                </c:pt>
                <c:pt idx="355">
                  <c:v>45412</c:v>
                </c:pt>
                <c:pt idx="356">
                  <c:v>45411</c:v>
                </c:pt>
                <c:pt idx="357">
                  <c:v>45408</c:v>
                </c:pt>
                <c:pt idx="358">
                  <c:v>45407</c:v>
                </c:pt>
                <c:pt idx="359">
                  <c:v>45406</c:v>
                </c:pt>
                <c:pt idx="360">
                  <c:v>45405</c:v>
                </c:pt>
                <c:pt idx="361">
                  <c:v>45404</c:v>
                </c:pt>
                <c:pt idx="362">
                  <c:v>45401</c:v>
                </c:pt>
                <c:pt idx="363">
                  <c:v>45400</c:v>
                </c:pt>
                <c:pt idx="364">
                  <c:v>45399</c:v>
                </c:pt>
                <c:pt idx="365">
                  <c:v>45398</c:v>
                </c:pt>
                <c:pt idx="366">
                  <c:v>45397</c:v>
                </c:pt>
                <c:pt idx="367">
                  <c:v>45394</c:v>
                </c:pt>
                <c:pt idx="368">
                  <c:v>45393</c:v>
                </c:pt>
                <c:pt idx="369">
                  <c:v>45392</c:v>
                </c:pt>
                <c:pt idx="370">
                  <c:v>45391</c:v>
                </c:pt>
                <c:pt idx="371">
                  <c:v>45390</c:v>
                </c:pt>
                <c:pt idx="372">
                  <c:v>45387</c:v>
                </c:pt>
                <c:pt idx="373">
                  <c:v>45386</c:v>
                </c:pt>
                <c:pt idx="374">
                  <c:v>45385</c:v>
                </c:pt>
                <c:pt idx="375">
                  <c:v>45384</c:v>
                </c:pt>
                <c:pt idx="376">
                  <c:v>45383</c:v>
                </c:pt>
                <c:pt idx="377">
                  <c:v>45379</c:v>
                </c:pt>
                <c:pt idx="378">
                  <c:v>45378</c:v>
                </c:pt>
                <c:pt idx="379">
                  <c:v>45377</c:v>
                </c:pt>
                <c:pt idx="380">
                  <c:v>45376</c:v>
                </c:pt>
                <c:pt idx="381">
                  <c:v>45373</c:v>
                </c:pt>
                <c:pt idx="382">
                  <c:v>45372</c:v>
                </c:pt>
                <c:pt idx="383">
                  <c:v>45371</c:v>
                </c:pt>
                <c:pt idx="384">
                  <c:v>45370</c:v>
                </c:pt>
                <c:pt idx="385">
                  <c:v>45369</c:v>
                </c:pt>
                <c:pt idx="386">
                  <c:v>45366</c:v>
                </c:pt>
                <c:pt idx="387">
                  <c:v>45365</c:v>
                </c:pt>
                <c:pt idx="388">
                  <c:v>45364</c:v>
                </c:pt>
                <c:pt idx="389">
                  <c:v>45363</c:v>
                </c:pt>
                <c:pt idx="390">
                  <c:v>45362</c:v>
                </c:pt>
                <c:pt idx="391">
                  <c:v>45359</c:v>
                </c:pt>
                <c:pt idx="392">
                  <c:v>45358</c:v>
                </c:pt>
                <c:pt idx="393">
                  <c:v>45357</c:v>
                </c:pt>
                <c:pt idx="394">
                  <c:v>45356</c:v>
                </c:pt>
                <c:pt idx="395">
                  <c:v>45355</c:v>
                </c:pt>
                <c:pt idx="396">
                  <c:v>45352</c:v>
                </c:pt>
                <c:pt idx="397">
                  <c:v>45351</c:v>
                </c:pt>
                <c:pt idx="398">
                  <c:v>45350</c:v>
                </c:pt>
                <c:pt idx="399">
                  <c:v>45349</c:v>
                </c:pt>
                <c:pt idx="400">
                  <c:v>45348</c:v>
                </c:pt>
                <c:pt idx="401">
                  <c:v>45345</c:v>
                </c:pt>
                <c:pt idx="402">
                  <c:v>45344</c:v>
                </c:pt>
                <c:pt idx="403">
                  <c:v>45343</c:v>
                </c:pt>
                <c:pt idx="404">
                  <c:v>45342</c:v>
                </c:pt>
                <c:pt idx="405">
                  <c:v>45338</c:v>
                </c:pt>
                <c:pt idx="406">
                  <c:v>45337</c:v>
                </c:pt>
                <c:pt idx="407">
                  <c:v>45336</c:v>
                </c:pt>
                <c:pt idx="408">
                  <c:v>45335</c:v>
                </c:pt>
                <c:pt idx="409">
                  <c:v>45334</c:v>
                </c:pt>
                <c:pt idx="410">
                  <c:v>45331</c:v>
                </c:pt>
                <c:pt idx="411">
                  <c:v>45330</c:v>
                </c:pt>
                <c:pt idx="412">
                  <c:v>45329</c:v>
                </c:pt>
                <c:pt idx="413">
                  <c:v>45328</c:v>
                </c:pt>
                <c:pt idx="414">
                  <c:v>45327</c:v>
                </c:pt>
                <c:pt idx="415">
                  <c:v>45324</c:v>
                </c:pt>
                <c:pt idx="416">
                  <c:v>45323</c:v>
                </c:pt>
                <c:pt idx="417">
                  <c:v>45322</c:v>
                </c:pt>
                <c:pt idx="418">
                  <c:v>45321</c:v>
                </c:pt>
                <c:pt idx="419">
                  <c:v>45320</c:v>
                </c:pt>
                <c:pt idx="420">
                  <c:v>45317</c:v>
                </c:pt>
                <c:pt idx="421">
                  <c:v>45316</c:v>
                </c:pt>
                <c:pt idx="422">
                  <c:v>45315</c:v>
                </c:pt>
                <c:pt idx="423">
                  <c:v>45314</c:v>
                </c:pt>
                <c:pt idx="424">
                  <c:v>45313</c:v>
                </c:pt>
                <c:pt idx="425">
                  <c:v>45310</c:v>
                </c:pt>
                <c:pt idx="426">
                  <c:v>45309</c:v>
                </c:pt>
                <c:pt idx="427">
                  <c:v>45308</c:v>
                </c:pt>
                <c:pt idx="428">
                  <c:v>45307</c:v>
                </c:pt>
                <c:pt idx="429">
                  <c:v>45303</c:v>
                </c:pt>
                <c:pt idx="430">
                  <c:v>45302</c:v>
                </c:pt>
                <c:pt idx="431">
                  <c:v>45301</c:v>
                </c:pt>
                <c:pt idx="432">
                  <c:v>45300</c:v>
                </c:pt>
                <c:pt idx="433">
                  <c:v>45299</c:v>
                </c:pt>
                <c:pt idx="434">
                  <c:v>45296</c:v>
                </c:pt>
                <c:pt idx="435">
                  <c:v>45295</c:v>
                </c:pt>
                <c:pt idx="436">
                  <c:v>45294</c:v>
                </c:pt>
                <c:pt idx="437">
                  <c:v>45293</c:v>
                </c:pt>
                <c:pt idx="438">
                  <c:v>45289</c:v>
                </c:pt>
                <c:pt idx="439">
                  <c:v>45288</c:v>
                </c:pt>
                <c:pt idx="440">
                  <c:v>45287</c:v>
                </c:pt>
                <c:pt idx="441">
                  <c:v>45286</c:v>
                </c:pt>
                <c:pt idx="442">
                  <c:v>45282</c:v>
                </c:pt>
                <c:pt idx="443">
                  <c:v>45281</c:v>
                </c:pt>
                <c:pt idx="444">
                  <c:v>45280</c:v>
                </c:pt>
                <c:pt idx="445">
                  <c:v>45279</c:v>
                </c:pt>
                <c:pt idx="446">
                  <c:v>45278</c:v>
                </c:pt>
                <c:pt idx="447">
                  <c:v>45275</c:v>
                </c:pt>
                <c:pt idx="448">
                  <c:v>45274</c:v>
                </c:pt>
                <c:pt idx="449">
                  <c:v>45273</c:v>
                </c:pt>
                <c:pt idx="450">
                  <c:v>45272</c:v>
                </c:pt>
                <c:pt idx="451">
                  <c:v>45271</c:v>
                </c:pt>
                <c:pt idx="452">
                  <c:v>45268</c:v>
                </c:pt>
                <c:pt idx="453">
                  <c:v>45267</c:v>
                </c:pt>
                <c:pt idx="454">
                  <c:v>45266</c:v>
                </c:pt>
                <c:pt idx="455">
                  <c:v>45265</c:v>
                </c:pt>
                <c:pt idx="456">
                  <c:v>45264</c:v>
                </c:pt>
                <c:pt idx="457">
                  <c:v>45261</c:v>
                </c:pt>
                <c:pt idx="458">
                  <c:v>45260</c:v>
                </c:pt>
                <c:pt idx="459">
                  <c:v>45259</c:v>
                </c:pt>
                <c:pt idx="460">
                  <c:v>45258</c:v>
                </c:pt>
                <c:pt idx="461">
                  <c:v>45257</c:v>
                </c:pt>
                <c:pt idx="462">
                  <c:v>45254</c:v>
                </c:pt>
                <c:pt idx="463">
                  <c:v>45252</c:v>
                </c:pt>
                <c:pt idx="464">
                  <c:v>45251</c:v>
                </c:pt>
                <c:pt idx="465">
                  <c:v>45250</c:v>
                </c:pt>
                <c:pt idx="466">
                  <c:v>45247</c:v>
                </c:pt>
                <c:pt idx="467">
                  <c:v>45246</c:v>
                </c:pt>
                <c:pt idx="468">
                  <c:v>45245</c:v>
                </c:pt>
                <c:pt idx="469">
                  <c:v>45244</c:v>
                </c:pt>
                <c:pt idx="470">
                  <c:v>45243</c:v>
                </c:pt>
                <c:pt idx="471">
                  <c:v>45240</c:v>
                </c:pt>
                <c:pt idx="472">
                  <c:v>45239</c:v>
                </c:pt>
                <c:pt idx="473">
                  <c:v>45238</c:v>
                </c:pt>
                <c:pt idx="474">
                  <c:v>45237</c:v>
                </c:pt>
                <c:pt idx="475">
                  <c:v>45236</c:v>
                </c:pt>
                <c:pt idx="476">
                  <c:v>45233</c:v>
                </c:pt>
                <c:pt idx="477">
                  <c:v>45232</c:v>
                </c:pt>
                <c:pt idx="478">
                  <c:v>45231</c:v>
                </c:pt>
                <c:pt idx="479">
                  <c:v>45230</c:v>
                </c:pt>
                <c:pt idx="480">
                  <c:v>45229</c:v>
                </c:pt>
                <c:pt idx="481">
                  <c:v>45226</c:v>
                </c:pt>
                <c:pt idx="482">
                  <c:v>45225</c:v>
                </c:pt>
                <c:pt idx="483">
                  <c:v>45224</c:v>
                </c:pt>
                <c:pt idx="484">
                  <c:v>45223</c:v>
                </c:pt>
                <c:pt idx="485">
                  <c:v>45222</c:v>
                </c:pt>
                <c:pt idx="486">
                  <c:v>45219</c:v>
                </c:pt>
                <c:pt idx="487">
                  <c:v>45218</c:v>
                </c:pt>
                <c:pt idx="488">
                  <c:v>45217</c:v>
                </c:pt>
                <c:pt idx="489">
                  <c:v>45216</c:v>
                </c:pt>
                <c:pt idx="490">
                  <c:v>45215</c:v>
                </c:pt>
                <c:pt idx="491">
                  <c:v>45212</c:v>
                </c:pt>
                <c:pt idx="492">
                  <c:v>45211</c:v>
                </c:pt>
                <c:pt idx="493">
                  <c:v>45210</c:v>
                </c:pt>
                <c:pt idx="494">
                  <c:v>45209</c:v>
                </c:pt>
                <c:pt idx="495">
                  <c:v>45208</c:v>
                </c:pt>
                <c:pt idx="496">
                  <c:v>45205</c:v>
                </c:pt>
                <c:pt idx="497">
                  <c:v>45204</c:v>
                </c:pt>
                <c:pt idx="498">
                  <c:v>45203</c:v>
                </c:pt>
                <c:pt idx="499">
                  <c:v>45202</c:v>
                </c:pt>
                <c:pt idx="500">
                  <c:v>45201</c:v>
                </c:pt>
                <c:pt idx="501">
                  <c:v>45198</c:v>
                </c:pt>
                <c:pt idx="502">
                  <c:v>45197</c:v>
                </c:pt>
                <c:pt idx="503">
                  <c:v>45196</c:v>
                </c:pt>
                <c:pt idx="504">
                  <c:v>45195</c:v>
                </c:pt>
                <c:pt idx="505">
                  <c:v>45194</c:v>
                </c:pt>
                <c:pt idx="506">
                  <c:v>45191</c:v>
                </c:pt>
                <c:pt idx="507">
                  <c:v>45190</c:v>
                </c:pt>
                <c:pt idx="508">
                  <c:v>45189</c:v>
                </c:pt>
                <c:pt idx="509">
                  <c:v>45188</c:v>
                </c:pt>
                <c:pt idx="510">
                  <c:v>45187</c:v>
                </c:pt>
                <c:pt idx="511">
                  <c:v>45184</c:v>
                </c:pt>
                <c:pt idx="512">
                  <c:v>45183</c:v>
                </c:pt>
                <c:pt idx="513">
                  <c:v>45182</c:v>
                </c:pt>
                <c:pt idx="514">
                  <c:v>45181</c:v>
                </c:pt>
                <c:pt idx="515">
                  <c:v>45180</c:v>
                </c:pt>
                <c:pt idx="516">
                  <c:v>45177</c:v>
                </c:pt>
                <c:pt idx="517">
                  <c:v>45176</c:v>
                </c:pt>
                <c:pt idx="518">
                  <c:v>45175</c:v>
                </c:pt>
                <c:pt idx="519">
                  <c:v>45174</c:v>
                </c:pt>
                <c:pt idx="520">
                  <c:v>45170</c:v>
                </c:pt>
                <c:pt idx="521">
                  <c:v>45169</c:v>
                </c:pt>
                <c:pt idx="522">
                  <c:v>45168</c:v>
                </c:pt>
                <c:pt idx="523">
                  <c:v>45167</c:v>
                </c:pt>
                <c:pt idx="524">
                  <c:v>45166</c:v>
                </c:pt>
                <c:pt idx="525">
                  <c:v>45163</c:v>
                </c:pt>
                <c:pt idx="526">
                  <c:v>45162</c:v>
                </c:pt>
                <c:pt idx="527">
                  <c:v>45161</c:v>
                </c:pt>
                <c:pt idx="528">
                  <c:v>45160</c:v>
                </c:pt>
                <c:pt idx="529">
                  <c:v>45159</c:v>
                </c:pt>
                <c:pt idx="530">
                  <c:v>45156</c:v>
                </c:pt>
                <c:pt idx="531">
                  <c:v>45155</c:v>
                </c:pt>
                <c:pt idx="532">
                  <c:v>45154</c:v>
                </c:pt>
                <c:pt idx="533">
                  <c:v>45153</c:v>
                </c:pt>
                <c:pt idx="534">
                  <c:v>45152</c:v>
                </c:pt>
                <c:pt idx="535">
                  <c:v>45149</c:v>
                </c:pt>
                <c:pt idx="536">
                  <c:v>45148</c:v>
                </c:pt>
                <c:pt idx="537">
                  <c:v>45147</c:v>
                </c:pt>
                <c:pt idx="538">
                  <c:v>45146</c:v>
                </c:pt>
                <c:pt idx="539">
                  <c:v>45145</c:v>
                </c:pt>
                <c:pt idx="540">
                  <c:v>45142</c:v>
                </c:pt>
                <c:pt idx="541">
                  <c:v>45141</c:v>
                </c:pt>
                <c:pt idx="542">
                  <c:v>45140</c:v>
                </c:pt>
                <c:pt idx="543">
                  <c:v>45139</c:v>
                </c:pt>
                <c:pt idx="544">
                  <c:v>45138</c:v>
                </c:pt>
                <c:pt idx="545">
                  <c:v>45135</c:v>
                </c:pt>
                <c:pt idx="546">
                  <c:v>45134</c:v>
                </c:pt>
                <c:pt idx="547">
                  <c:v>45133</c:v>
                </c:pt>
                <c:pt idx="548">
                  <c:v>45132</c:v>
                </c:pt>
                <c:pt idx="549">
                  <c:v>45131</c:v>
                </c:pt>
                <c:pt idx="550">
                  <c:v>45128</c:v>
                </c:pt>
                <c:pt idx="551">
                  <c:v>45127</c:v>
                </c:pt>
                <c:pt idx="552">
                  <c:v>45126</c:v>
                </c:pt>
                <c:pt idx="553">
                  <c:v>45125</c:v>
                </c:pt>
                <c:pt idx="554">
                  <c:v>45124</c:v>
                </c:pt>
                <c:pt idx="555">
                  <c:v>45121</c:v>
                </c:pt>
                <c:pt idx="556">
                  <c:v>45120</c:v>
                </c:pt>
                <c:pt idx="557">
                  <c:v>45119</c:v>
                </c:pt>
                <c:pt idx="558">
                  <c:v>45118</c:v>
                </c:pt>
                <c:pt idx="559">
                  <c:v>45117</c:v>
                </c:pt>
                <c:pt idx="560">
                  <c:v>45114</c:v>
                </c:pt>
                <c:pt idx="561">
                  <c:v>45113</c:v>
                </c:pt>
                <c:pt idx="562">
                  <c:v>45112</c:v>
                </c:pt>
                <c:pt idx="563">
                  <c:v>45111</c:v>
                </c:pt>
                <c:pt idx="564">
                  <c:v>45107</c:v>
                </c:pt>
                <c:pt idx="565">
                  <c:v>45106</c:v>
                </c:pt>
                <c:pt idx="566">
                  <c:v>45105</c:v>
                </c:pt>
                <c:pt idx="567">
                  <c:v>45104</c:v>
                </c:pt>
                <c:pt idx="568">
                  <c:v>45103</c:v>
                </c:pt>
                <c:pt idx="569">
                  <c:v>45100</c:v>
                </c:pt>
                <c:pt idx="570">
                  <c:v>45099</c:v>
                </c:pt>
                <c:pt idx="571">
                  <c:v>45098</c:v>
                </c:pt>
                <c:pt idx="572">
                  <c:v>45097</c:v>
                </c:pt>
                <c:pt idx="573">
                  <c:v>45093</c:v>
                </c:pt>
                <c:pt idx="574">
                  <c:v>45092</c:v>
                </c:pt>
                <c:pt idx="575">
                  <c:v>45091</c:v>
                </c:pt>
                <c:pt idx="576">
                  <c:v>45090</c:v>
                </c:pt>
                <c:pt idx="577">
                  <c:v>45089</c:v>
                </c:pt>
                <c:pt idx="578">
                  <c:v>45086</c:v>
                </c:pt>
                <c:pt idx="579">
                  <c:v>45085</c:v>
                </c:pt>
                <c:pt idx="580">
                  <c:v>45084</c:v>
                </c:pt>
                <c:pt idx="581">
                  <c:v>45083</c:v>
                </c:pt>
                <c:pt idx="582">
                  <c:v>45082</c:v>
                </c:pt>
                <c:pt idx="583">
                  <c:v>45079</c:v>
                </c:pt>
                <c:pt idx="584">
                  <c:v>45078</c:v>
                </c:pt>
                <c:pt idx="585">
                  <c:v>45077</c:v>
                </c:pt>
                <c:pt idx="586">
                  <c:v>45076</c:v>
                </c:pt>
                <c:pt idx="587">
                  <c:v>45072</c:v>
                </c:pt>
                <c:pt idx="588">
                  <c:v>45071</c:v>
                </c:pt>
                <c:pt idx="589">
                  <c:v>45070</c:v>
                </c:pt>
                <c:pt idx="590">
                  <c:v>45069</c:v>
                </c:pt>
                <c:pt idx="591">
                  <c:v>45068</c:v>
                </c:pt>
                <c:pt idx="592">
                  <c:v>45065</c:v>
                </c:pt>
                <c:pt idx="593">
                  <c:v>45064</c:v>
                </c:pt>
                <c:pt idx="594">
                  <c:v>45063</c:v>
                </c:pt>
                <c:pt idx="595">
                  <c:v>45062</c:v>
                </c:pt>
                <c:pt idx="596">
                  <c:v>45061</c:v>
                </c:pt>
                <c:pt idx="597">
                  <c:v>45058</c:v>
                </c:pt>
                <c:pt idx="598">
                  <c:v>45057</c:v>
                </c:pt>
                <c:pt idx="599">
                  <c:v>45056</c:v>
                </c:pt>
                <c:pt idx="600">
                  <c:v>45055</c:v>
                </c:pt>
                <c:pt idx="601">
                  <c:v>45054</c:v>
                </c:pt>
                <c:pt idx="602">
                  <c:v>45051</c:v>
                </c:pt>
                <c:pt idx="603">
                  <c:v>45050</c:v>
                </c:pt>
                <c:pt idx="604">
                  <c:v>45049</c:v>
                </c:pt>
                <c:pt idx="605">
                  <c:v>45048</c:v>
                </c:pt>
                <c:pt idx="606">
                  <c:v>45047</c:v>
                </c:pt>
                <c:pt idx="607">
                  <c:v>45044</c:v>
                </c:pt>
                <c:pt idx="608">
                  <c:v>45043</c:v>
                </c:pt>
                <c:pt idx="609">
                  <c:v>45042</c:v>
                </c:pt>
                <c:pt idx="610">
                  <c:v>45041</c:v>
                </c:pt>
                <c:pt idx="611">
                  <c:v>45040</c:v>
                </c:pt>
                <c:pt idx="612">
                  <c:v>45037</c:v>
                </c:pt>
                <c:pt idx="613">
                  <c:v>45036</c:v>
                </c:pt>
                <c:pt idx="614">
                  <c:v>45035</c:v>
                </c:pt>
                <c:pt idx="615">
                  <c:v>45034</c:v>
                </c:pt>
                <c:pt idx="616">
                  <c:v>45033</c:v>
                </c:pt>
                <c:pt idx="617">
                  <c:v>45030</c:v>
                </c:pt>
                <c:pt idx="618">
                  <c:v>45029</c:v>
                </c:pt>
                <c:pt idx="619">
                  <c:v>45028</c:v>
                </c:pt>
                <c:pt idx="620">
                  <c:v>45027</c:v>
                </c:pt>
                <c:pt idx="621">
                  <c:v>45026</c:v>
                </c:pt>
                <c:pt idx="622">
                  <c:v>45023</c:v>
                </c:pt>
                <c:pt idx="623">
                  <c:v>45022</c:v>
                </c:pt>
                <c:pt idx="624">
                  <c:v>45021</c:v>
                </c:pt>
                <c:pt idx="625">
                  <c:v>45020</c:v>
                </c:pt>
                <c:pt idx="626">
                  <c:v>45016</c:v>
                </c:pt>
                <c:pt idx="627">
                  <c:v>45015</c:v>
                </c:pt>
                <c:pt idx="628">
                  <c:v>45014</c:v>
                </c:pt>
                <c:pt idx="629">
                  <c:v>45013</c:v>
                </c:pt>
                <c:pt idx="630">
                  <c:v>45012</c:v>
                </c:pt>
                <c:pt idx="631">
                  <c:v>45009</c:v>
                </c:pt>
                <c:pt idx="632">
                  <c:v>45008</c:v>
                </c:pt>
                <c:pt idx="633">
                  <c:v>45007</c:v>
                </c:pt>
                <c:pt idx="634">
                  <c:v>45006</c:v>
                </c:pt>
                <c:pt idx="635">
                  <c:v>45005</c:v>
                </c:pt>
                <c:pt idx="636">
                  <c:v>45002</c:v>
                </c:pt>
                <c:pt idx="637">
                  <c:v>45001</c:v>
                </c:pt>
                <c:pt idx="638">
                  <c:v>45000</c:v>
                </c:pt>
                <c:pt idx="639">
                  <c:v>44999</c:v>
                </c:pt>
                <c:pt idx="640">
                  <c:v>44998</c:v>
                </c:pt>
                <c:pt idx="641">
                  <c:v>44995</c:v>
                </c:pt>
                <c:pt idx="642">
                  <c:v>44994</c:v>
                </c:pt>
                <c:pt idx="643">
                  <c:v>44993</c:v>
                </c:pt>
                <c:pt idx="644">
                  <c:v>44992</c:v>
                </c:pt>
                <c:pt idx="645">
                  <c:v>44991</c:v>
                </c:pt>
                <c:pt idx="646">
                  <c:v>44988</c:v>
                </c:pt>
                <c:pt idx="647">
                  <c:v>44987</c:v>
                </c:pt>
                <c:pt idx="648">
                  <c:v>44986</c:v>
                </c:pt>
                <c:pt idx="649">
                  <c:v>44985</c:v>
                </c:pt>
                <c:pt idx="650">
                  <c:v>44984</c:v>
                </c:pt>
                <c:pt idx="651">
                  <c:v>44981</c:v>
                </c:pt>
                <c:pt idx="652">
                  <c:v>44980</c:v>
                </c:pt>
                <c:pt idx="653">
                  <c:v>44979</c:v>
                </c:pt>
                <c:pt idx="654">
                  <c:v>44978</c:v>
                </c:pt>
                <c:pt idx="655">
                  <c:v>44974</c:v>
                </c:pt>
                <c:pt idx="656">
                  <c:v>44973</c:v>
                </c:pt>
                <c:pt idx="657">
                  <c:v>44972</c:v>
                </c:pt>
                <c:pt idx="658">
                  <c:v>44971</c:v>
                </c:pt>
                <c:pt idx="659">
                  <c:v>44970</c:v>
                </c:pt>
                <c:pt idx="660">
                  <c:v>44967</c:v>
                </c:pt>
                <c:pt idx="661">
                  <c:v>44966</c:v>
                </c:pt>
                <c:pt idx="662">
                  <c:v>44965</c:v>
                </c:pt>
                <c:pt idx="663">
                  <c:v>44964</c:v>
                </c:pt>
                <c:pt idx="664">
                  <c:v>44963</c:v>
                </c:pt>
                <c:pt idx="665">
                  <c:v>44960</c:v>
                </c:pt>
                <c:pt idx="666">
                  <c:v>44959</c:v>
                </c:pt>
                <c:pt idx="667">
                  <c:v>44958</c:v>
                </c:pt>
                <c:pt idx="668">
                  <c:v>44957</c:v>
                </c:pt>
                <c:pt idx="669">
                  <c:v>44956</c:v>
                </c:pt>
                <c:pt idx="670">
                  <c:v>44953</c:v>
                </c:pt>
                <c:pt idx="671">
                  <c:v>44952</c:v>
                </c:pt>
                <c:pt idx="672">
                  <c:v>44951</c:v>
                </c:pt>
                <c:pt idx="673">
                  <c:v>44950</c:v>
                </c:pt>
                <c:pt idx="674">
                  <c:v>44949</c:v>
                </c:pt>
                <c:pt idx="675">
                  <c:v>44946</c:v>
                </c:pt>
                <c:pt idx="676">
                  <c:v>44945</c:v>
                </c:pt>
                <c:pt idx="677">
                  <c:v>44944</c:v>
                </c:pt>
                <c:pt idx="678">
                  <c:v>44943</c:v>
                </c:pt>
                <c:pt idx="679">
                  <c:v>44939</c:v>
                </c:pt>
                <c:pt idx="680">
                  <c:v>44938</c:v>
                </c:pt>
                <c:pt idx="681">
                  <c:v>44937</c:v>
                </c:pt>
                <c:pt idx="682">
                  <c:v>44936</c:v>
                </c:pt>
                <c:pt idx="683">
                  <c:v>44935</c:v>
                </c:pt>
                <c:pt idx="684">
                  <c:v>44932</c:v>
                </c:pt>
                <c:pt idx="685">
                  <c:v>44931</c:v>
                </c:pt>
                <c:pt idx="686">
                  <c:v>44930</c:v>
                </c:pt>
                <c:pt idx="687">
                  <c:v>44929</c:v>
                </c:pt>
                <c:pt idx="688">
                  <c:v>44925</c:v>
                </c:pt>
                <c:pt idx="689">
                  <c:v>44924</c:v>
                </c:pt>
                <c:pt idx="690">
                  <c:v>44923</c:v>
                </c:pt>
                <c:pt idx="691">
                  <c:v>44922</c:v>
                </c:pt>
                <c:pt idx="692">
                  <c:v>44918</c:v>
                </c:pt>
                <c:pt idx="693">
                  <c:v>44917</c:v>
                </c:pt>
                <c:pt idx="694">
                  <c:v>44916</c:v>
                </c:pt>
                <c:pt idx="695">
                  <c:v>44915</c:v>
                </c:pt>
                <c:pt idx="696">
                  <c:v>44914</c:v>
                </c:pt>
                <c:pt idx="697">
                  <c:v>44911</c:v>
                </c:pt>
                <c:pt idx="698">
                  <c:v>44910</c:v>
                </c:pt>
                <c:pt idx="699">
                  <c:v>44909</c:v>
                </c:pt>
                <c:pt idx="700">
                  <c:v>44908</c:v>
                </c:pt>
                <c:pt idx="701">
                  <c:v>44907</c:v>
                </c:pt>
                <c:pt idx="702">
                  <c:v>44904</c:v>
                </c:pt>
                <c:pt idx="703">
                  <c:v>44903</c:v>
                </c:pt>
                <c:pt idx="704">
                  <c:v>44902</c:v>
                </c:pt>
                <c:pt idx="705">
                  <c:v>44901</c:v>
                </c:pt>
                <c:pt idx="706">
                  <c:v>44900</c:v>
                </c:pt>
                <c:pt idx="707">
                  <c:v>44897</c:v>
                </c:pt>
                <c:pt idx="708">
                  <c:v>44896</c:v>
                </c:pt>
                <c:pt idx="709">
                  <c:v>44895</c:v>
                </c:pt>
                <c:pt idx="710">
                  <c:v>44894</c:v>
                </c:pt>
                <c:pt idx="711">
                  <c:v>44893</c:v>
                </c:pt>
                <c:pt idx="712">
                  <c:v>44890</c:v>
                </c:pt>
                <c:pt idx="713">
                  <c:v>44888</c:v>
                </c:pt>
                <c:pt idx="714">
                  <c:v>44887</c:v>
                </c:pt>
                <c:pt idx="715">
                  <c:v>44886</c:v>
                </c:pt>
                <c:pt idx="716">
                  <c:v>44883</c:v>
                </c:pt>
                <c:pt idx="717">
                  <c:v>44882</c:v>
                </c:pt>
                <c:pt idx="718">
                  <c:v>44881</c:v>
                </c:pt>
                <c:pt idx="719">
                  <c:v>44880</c:v>
                </c:pt>
                <c:pt idx="720">
                  <c:v>44879</c:v>
                </c:pt>
                <c:pt idx="721">
                  <c:v>44876</c:v>
                </c:pt>
                <c:pt idx="722">
                  <c:v>44875</c:v>
                </c:pt>
                <c:pt idx="723">
                  <c:v>44874</c:v>
                </c:pt>
                <c:pt idx="724">
                  <c:v>44873</c:v>
                </c:pt>
                <c:pt idx="725">
                  <c:v>44872</c:v>
                </c:pt>
                <c:pt idx="726">
                  <c:v>44869</c:v>
                </c:pt>
                <c:pt idx="727">
                  <c:v>44868</c:v>
                </c:pt>
                <c:pt idx="728">
                  <c:v>44867</c:v>
                </c:pt>
                <c:pt idx="729">
                  <c:v>44866</c:v>
                </c:pt>
                <c:pt idx="730">
                  <c:v>44865</c:v>
                </c:pt>
                <c:pt idx="731">
                  <c:v>44862</c:v>
                </c:pt>
                <c:pt idx="732">
                  <c:v>44861</c:v>
                </c:pt>
                <c:pt idx="733">
                  <c:v>44860</c:v>
                </c:pt>
                <c:pt idx="734">
                  <c:v>44859</c:v>
                </c:pt>
                <c:pt idx="735">
                  <c:v>44858</c:v>
                </c:pt>
                <c:pt idx="736">
                  <c:v>44855</c:v>
                </c:pt>
                <c:pt idx="737">
                  <c:v>44854</c:v>
                </c:pt>
                <c:pt idx="738">
                  <c:v>44853</c:v>
                </c:pt>
                <c:pt idx="739">
                  <c:v>44852</c:v>
                </c:pt>
                <c:pt idx="740">
                  <c:v>44851</c:v>
                </c:pt>
                <c:pt idx="741">
                  <c:v>44848</c:v>
                </c:pt>
                <c:pt idx="742">
                  <c:v>44847</c:v>
                </c:pt>
                <c:pt idx="743">
                  <c:v>44846</c:v>
                </c:pt>
                <c:pt idx="744">
                  <c:v>44845</c:v>
                </c:pt>
                <c:pt idx="745">
                  <c:v>44844</c:v>
                </c:pt>
                <c:pt idx="746">
                  <c:v>44841</c:v>
                </c:pt>
                <c:pt idx="747">
                  <c:v>44840</c:v>
                </c:pt>
                <c:pt idx="748">
                  <c:v>44839</c:v>
                </c:pt>
                <c:pt idx="749">
                  <c:v>44838</c:v>
                </c:pt>
                <c:pt idx="750">
                  <c:v>44837</c:v>
                </c:pt>
                <c:pt idx="751">
                  <c:v>44834</c:v>
                </c:pt>
                <c:pt idx="752">
                  <c:v>44833</c:v>
                </c:pt>
                <c:pt idx="753">
                  <c:v>44832</c:v>
                </c:pt>
                <c:pt idx="754">
                  <c:v>44831</c:v>
                </c:pt>
                <c:pt idx="755">
                  <c:v>44830</c:v>
                </c:pt>
                <c:pt idx="756">
                  <c:v>44827</c:v>
                </c:pt>
                <c:pt idx="757">
                  <c:v>44826</c:v>
                </c:pt>
                <c:pt idx="758">
                  <c:v>44825</c:v>
                </c:pt>
                <c:pt idx="759">
                  <c:v>44824</c:v>
                </c:pt>
                <c:pt idx="760">
                  <c:v>44823</c:v>
                </c:pt>
                <c:pt idx="761">
                  <c:v>44820</c:v>
                </c:pt>
                <c:pt idx="762">
                  <c:v>44819</c:v>
                </c:pt>
                <c:pt idx="763">
                  <c:v>44818</c:v>
                </c:pt>
                <c:pt idx="764">
                  <c:v>44817</c:v>
                </c:pt>
                <c:pt idx="765">
                  <c:v>44816</c:v>
                </c:pt>
                <c:pt idx="766">
                  <c:v>44813</c:v>
                </c:pt>
                <c:pt idx="767">
                  <c:v>44812</c:v>
                </c:pt>
                <c:pt idx="768">
                  <c:v>44811</c:v>
                </c:pt>
                <c:pt idx="769">
                  <c:v>44810</c:v>
                </c:pt>
                <c:pt idx="770">
                  <c:v>44806</c:v>
                </c:pt>
                <c:pt idx="771">
                  <c:v>44805</c:v>
                </c:pt>
                <c:pt idx="772">
                  <c:v>44804</c:v>
                </c:pt>
                <c:pt idx="773">
                  <c:v>44803</c:v>
                </c:pt>
                <c:pt idx="774">
                  <c:v>44802</c:v>
                </c:pt>
                <c:pt idx="775">
                  <c:v>44799</c:v>
                </c:pt>
                <c:pt idx="776">
                  <c:v>44798</c:v>
                </c:pt>
                <c:pt idx="777">
                  <c:v>44797</c:v>
                </c:pt>
                <c:pt idx="778">
                  <c:v>44796</c:v>
                </c:pt>
                <c:pt idx="779">
                  <c:v>44795</c:v>
                </c:pt>
                <c:pt idx="780">
                  <c:v>44792</c:v>
                </c:pt>
                <c:pt idx="781">
                  <c:v>44791</c:v>
                </c:pt>
                <c:pt idx="782">
                  <c:v>44790</c:v>
                </c:pt>
                <c:pt idx="783">
                  <c:v>44789</c:v>
                </c:pt>
                <c:pt idx="784">
                  <c:v>44788</c:v>
                </c:pt>
                <c:pt idx="785">
                  <c:v>44785</c:v>
                </c:pt>
                <c:pt idx="786">
                  <c:v>44784</c:v>
                </c:pt>
                <c:pt idx="787">
                  <c:v>44783</c:v>
                </c:pt>
                <c:pt idx="788">
                  <c:v>44782</c:v>
                </c:pt>
                <c:pt idx="789">
                  <c:v>44781</c:v>
                </c:pt>
                <c:pt idx="790">
                  <c:v>44778</c:v>
                </c:pt>
                <c:pt idx="791">
                  <c:v>44777</c:v>
                </c:pt>
                <c:pt idx="792">
                  <c:v>44776</c:v>
                </c:pt>
                <c:pt idx="793">
                  <c:v>44775</c:v>
                </c:pt>
                <c:pt idx="794">
                  <c:v>44774</c:v>
                </c:pt>
                <c:pt idx="795">
                  <c:v>44771</c:v>
                </c:pt>
                <c:pt idx="796">
                  <c:v>44770</c:v>
                </c:pt>
                <c:pt idx="797">
                  <c:v>44769</c:v>
                </c:pt>
                <c:pt idx="798">
                  <c:v>44768</c:v>
                </c:pt>
                <c:pt idx="799">
                  <c:v>44767</c:v>
                </c:pt>
                <c:pt idx="800">
                  <c:v>44764</c:v>
                </c:pt>
                <c:pt idx="801">
                  <c:v>44763</c:v>
                </c:pt>
                <c:pt idx="802">
                  <c:v>44762</c:v>
                </c:pt>
                <c:pt idx="803">
                  <c:v>44761</c:v>
                </c:pt>
                <c:pt idx="804">
                  <c:v>44760</c:v>
                </c:pt>
                <c:pt idx="805">
                  <c:v>44757</c:v>
                </c:pt>
                <c:pt idx="806">
                  <c:v>44756</c:v>
                </c:pt>
                <c:pt idx="807">
                  <c:v>44755</c:v>
                </c:pt>
                <c:pt idx="808">
                  <c:v>44754</c:v>
                </c:pt>
                <c:pt idx="809">
                  <c:v>44753</c:v>
                </c:pt>
                <c:pt idx="810">
                  <c:v>44750</c:v>
                </c:pt>
                <c:pt idx="811">
                  <c:v>44749</c:v>
                </c:pt>
                <c:pt idx="812">
                  <c:v>44748</c:v>
                </c:pt>
                <c:pt idx="813">
                  <c:v>44747</c:v>
                </c:pt>
                <c:pt idx="814">
                  <c:v>44743</c:v>
                </c:pt>
                <c:pt idx="815">
                  <c:v>44742</c:v>
                </c:pt>
                <c:pt idx="816">
                  <c:v>44741</c:v>
                </c:pt>
                <c:pt idx="817">
                  <c:v>44740</c:v>
                </c:pt>
                <c:pt idx="818">
                  <c:v>44739</c:v>
                </c:pt>
                <c:pt idx="819">
                  <c:v>44736</c:v>
                </c:pt>
                <c:pt idx="820">
                  <c:v>44735</c:v>
                </c:pt>
                <c:pt idx="821">
                  <c:v>44734</c:v>
                </c:pt>
                <c:pt idx="822">
                  <c:v>44733</c:v>
                </c:pt>
                <c:pt idx="823">
                  <c:v>44732</c:v>
                </c:pt>
                <c:pt idx="824">
                  <c:v>44729</c:v>
                </c:pt>
                <c:pt idx="825">
                  <c:v>44728</c:v>
                </c:pt>
                <c:pt idx="826">
                  <c:v>44727</c:v>
                </c:pt>
                <c:pt idx="827">
                  <c:v>44726</c:v>
                </c:pt>
                <c:pt idx="828">
                  <c:v>44725</c:v>
                </c:pt>
                <c:pt idx="829">
                  <c:v>44722</c:v>
                </c:pt>
                <c:pt idx="830">
                  <c:v>44721</c:v>
                </c:pt>
                <c:pt idx="831">
                  <c:v>44720</c:v>
                </c:pt>
                <c:pt idx="832">
                  <c:v>44719</c:v>
                </c:pt>
                <c:pt idx="833">
                  <c:v>44718</c:v>
                </c:pt>
                <c:pt idx="834">
                  <c:v>44714</c:v>
                </c:pt>
                <c:pt idx="835">
                  <c:v>44713</c:v>
                </c:pt>
                <c:pt idx="836">
                  <c:v>44712</c:v>
                </c:pt>
                <c:pt idx="837">
                  <c:v>44708</c:v>
                </c:pt>
                <c:pt idx="838">
                  <c:v>44707</c:v>
                </c:pt>
                <c:pt idx="839">
                  <c:v>44706</c:v>
                </c:pt>
                <c:pt idx="840">
                  <c:v>44705</c:v>
                </c:pt>
                <c:pt idx="841">
                  <c:v>44704</c:v>
                </c:pt>
                <c:pt idx="842">
                  <c:v>44701</c:v>
                </c:pt>
                <c:pt idx="843">
                  <c:v>44700</c:v>
                </c:pt>
                <c:pt idx="844">
                  <c:v>44699</c:v>
                </c:pt>
                <c:pt idx="845">
                  <c:v>44698</c:v>
                </c:pt>
                <c:pt idx="846">
                  <c:v>44697</c:v>
                </c:pt>
                <c:pt idx="847">
                  <c:v>44694</c:v>
                </c:pt>
                <c:pt idx="848">
                  <c:v>44693</c:v>
                </c:pt>
                <c:pt idx="849">
                  <c:v>44692</c:v>
                </c:pt>
                <c:pt idx="850">
                  <c:v>44691</c:v>
                </c:pt>
                <c:pt idx="851">
                  <c:v>44690</c:v>
                </c:pt>
                <c:pt idx="852">
                  <c:v>44687</c:v>
                </c:pt>
                <c:pt idx="853">
                  <c:v>44686</c:v>
                </c:pt>
                <c:pt idx="854">
                  <c:v>44685</c:v>
                </c:pt>
                <c:pt idx="855">
                  <c:v>44684</c:v>
                </c:pt>
                <c:pt idx="856">
                  <c:v>44683</c:v>
                </c:pt>
                <c:pt idx="857">
                  <c:v>44680</c:v>
                </c:pt>
                <c:pt idx="858">
                  <c:v>44679</c:v>
                </c:pt>
                <c:pt idx="859">
                  <c:v>44678</c:v>
                </c:pt>
                <c:pt idx="860">
                  <c:v>44677</c:v>
                </c:pt>
                <c:pt idx="861">
                  <c:v>44676</c:v>
                </c:pt>
                <c:pt idx="862">
                  <c:v>44673</c:v>
                </c:pt>
                <c:pt idx="863">
                  <c:v>44672</c:v>
                </c:pt>
                <c:pt idx="864">
                  <c:v>44671</c:v>
                </c:pt>
                <c:pt idx="865">
                  <c:v>44670</c:v>
                </c:pt>
                <c:pt idx="866">
                  <c:v>44669</c:v>
                </c:pt>
                <c:pt idx="867">
                  <c:v>44665</c:v>
                </c:pt>
                <c:pt idx="868">
                  <c:v>44664</c:v>
                </c:pt>
                <c:pt idx="869">
                  <c:v>44663</c:v>
                </c:pt>
                <c:pt idx="870">
                  <c:v>44662</c:v>
                </c:pt>
                <c:pt idx="871">
                  <c:v>44659</c:v>
                </c:pt>
                <c:pt idx="872">
                  <c:v>44658</c:v>
                </c:pt>
                <c:pt idx="873">
                  <c:v>44657</c:v>
                </c:pt>
                <c:pt idx="874">
                  <c:v>44656</c:v>
                </c:pt>
                <c:pt idx="875">
                  <c:v>44655</c:v>
                </c:pt>
                <c:pt idx="876">
                  <c:v>44652</c:v>
                </c:pt>
                <c:pt idx="877">
                  <c:v>44651</c:v>
                </c:pt>
                <c:pt idx="878">
                  <c:v>44650</c:v>
                </c:pt>
                <c:pt idx="879">
                  <c:v>44649</c:v>
                </c:pt>
                <c:pt idx="880">
                  <c:v>44648</c:v>
                </c:pt>
                <c:pt idx="881">
                  <c:v>44645</c:v>
                </c:pt>
                <c:pt idx="882">
                  <c:v>44644</c:v>
                </c:pt>
                <c:pt idx="883">
                  <c:v>44643</c:v>
                </c:pt>
                <c:pt idx="884">
                  <c:v>44642</c:v>
                </c:pt>
                <c:pt idx="885">
                  <c:v>44641</c:v>
                </c:pt>
                <c:pt idx="886">
                  <c:v>44638</c:v>
                </c:pt>
                <c:pt idx="887">
                  <c:v>44637</c:v>
                </c:pt>
                <c:pt idx="888">
                  <c:v>44636</c:v>
                </c:pt>
                <c:pt idx="889">
                  <c:v>44635</c:v>
                </c:pt>
                <c:pt idx="890">
                  <c:v>44634</c:v>
                </c:pt>
                <c:pt idx="891">
                  <c:v>44631</c:v>
                </c:pt>
                <c:pt idx="892">
                  <c:v>44630</c:v>
                </c:pt>
                <c:pt idx="893">
                  <c:v>44629</c:v>
                </c:pt>
                <c:pt idx="894">
                  <c:v>44628</c:v>
                </c:pt>
                <c:pt idx="895">
                  <c:v>44627</c:v>
                </c:pt>
                <c:pt idx="896">
                  <c:v>44624</c:v>
                </c:pt>
                <c:pt idx="897">
                  <c:v>44623</c:v>
                </c:pt>
                <c:pt idx="898">
                  <c:v>44622</c:v>
                </c:pt>
                <c:pt idx="899">
                  <c:v>44621</c:v>
                </c:pt>
                <c:pt idx="900">
                  <c:v>44620</c:v>
                </c:pt>
                <c:pt idx="901">
                  <c:v>44617</c:v>
                </c:pt>
                <c:pt idx="902">
                  <c:v>44616</c:v>
                </c:pt>
                <c:pt idx="903">
                  <c:v>44615</c:v>
                </c:pt>
                <c:pt idx="904">
                  <c:v>44614</c:v>
                </c:pt>
                <c:pt idx="905">
                  <c:v>44610</c:v>
                </c:pt>
                <c:pt idx="906">
                  <c:v>44609</c:v>
                </c:pt>
                <c:pt idx="907">
                  <c:v>44608</c:v>
                </c:pt>
                <c:pt idx="908">
                  <c:v>44607</c:v>
                </c:pt>
                <c:pt idx="909">
                  <c:v>44606</c:v>
                </c:pt>
                <c:pt idx="910">
                  <c:v>44603</c:v>
                </c:pt>
                <c:pt idx="911">
                  <c:v>44602</c:v>
                </c:pt>
                <c:pt idx="912">
                  <c:v>44601</c:v>
                </c:pt>
                <c:pt idx="913">
                  <c:v>44600</c:v>
                </c:pt>
                <c:pt idx="914">
                  <c:v>44599</c:v>
                </c:pt>
                <c:pt idx="915">
                  <c:v>44596</c:v>
                </c:pt>
                <c:pt idx="916">
                  <c:v>44595</c:v>
                </c:pt>
                <c:pt idx="917">
                  <c:v>44594</c:v>
                </c:pt>
                <c:pt idx="918">
                  <c:v>44593</c:v>
                </c:pt>
                <c:pt idx="919">
                  <c:v>44592</c:v>
                </c:pt>
                <c:pt idx="920">
                  <c:v>44589</c:v>
                </c:pt>
                <c:pt idx="921">
                  <c:v>44588</c:v>
                </c:pt>
                <c:pt idx="922">
                  <c:v>44587</c:v>
                </c:pt>
                <c:pt idx="923">
                  <c:v>44586</c:v>
                </c:pt>
                <c:pt idx="924">
                  <c:v>44585</c:v>
                </c:pt>
                <c:pt idx="925">
                  <c:v>44582</c:v>
                </c:pt>
                <c:pt idx="926">
                  <c:v>44581</c:v>
                </c:pt>
                <c:pt idx="927">
                  <c:v>44580</c:v>
                </c:pt>
                <c:pt idx="928">
                  <c:v>44579</c:v>
                </c:pt>
                <c:pt idx="929">
                  <c:v>44575</c:v>
                </c:pt>
                <c:pt idx="930">
                  <c:v>44574</c:v>
                </c:pt>
                <c:pt idx="931">
                  <c:v>44573</c:v>
                </c:pt>
                <c:pt idx="932">
                  <c:v>44572</c:v>
                </c:pt>
                <c:pt idx="933">
                  <c:v>44571</c:v>
                </c:pt>
                <c:pt idx="934">
                  <c:v>44568</c:v>
                </c:pt>
                <c:pt idx="935">
                  <c:v>44567</c:v>
                </c:pt>
                <c:pt idx="936">
                  <c:v>44566</c:v>
                </c:pt>
                <c:pt idx="937">
                  <c:v>44565</c:v>
                </c:pt>
                <c:pt idx="938">
                  <c:v>44564</c:v>
                </c:pt>
                <c:pt idx="939">
                  <c:v>44561</c:v>
                </c:pt>
                <c:pt idx="940">
                  <c:v>44560</c:v>
                </c:pt>
                <c:pt idx="941">
                  <c:v>44559</c:v>
                </c:pt>
                <c:pt idx="942">
                  <c:v>44558</c:v>
                </c:pt>
                <c:pt idx="943">
                  <c:v>44557</c:v>
                </c:pt>
                <c:pt idx="944">
                  <c:v>44553</c:v>
                </c:pt>
                <c:pt idx="945">
                  <c:v>44552</c:v>
                </c:pt>
                <c:pt idx="946">
                  <c:v>44551</c:v>
                </c:pt>
                <c:pt idx="947">
                  <c:v>44550</c:v>
                </c:pt>
                <c:pt idx="948">
                  <c:v>44547</c:v>
                </c:pt>
                <c:pt idx="949">
                  <c:v>44546</c:v>
                </c:pt>
                <c:pt idx="950">
                  <c:v>44545</c:v>
                </c:pt>
                <c:pt idx="951">
                  <c:v>44544</c:v>
                </c:pt>
                <c:pt idx="952">
                  <c:v>44543</c:v>
                </c:pt>
                <c:pt idx="953">
                  <c:v>44540</c:v>
                </c:pt>
                <c:pt idx="954">
                  <c:v>44539</c:v>
                </c:pt>
                <c:pt idx="955">
                  <c:v>44538</c:v>
                </c:pt>
                <c:pt idx="956">
                  <c:v>44537</c:v>
                </c:pt>
                <c:pt idx="957">
                  <c:v>44536</c:v>
                </c:pt>
                <c:pt idx="958">
                  <c:v>44533</c:v>
                </c:pt>
                <c:pt idx="959">
                  <c:v>44532</c:v>
                </c:pt>
                <c:pt idx="960">
                  <c:v>44531</c:v>
                </c:pt>
                <c:pt idx="961">
                  <c:v>44530</c:v>
                </c:pt>
                <c:pt idx="962">
                  <c:v>44529</c:v>
                </c:pt>
                <c:pt idx="963">
                  <c:v>44526</c:v>
                </c:pt>
                <c:pt idx="964">
                  <c:v>44524</c:v>
                </c:pt>
                <c:pt idx="965">
                  <c:v>44523</c:v>
                </c:pt>
                <c:pt idx="966">
                  <c:v>44522</c:v>
                </c:pt>
                <c:pt idx="967">
                  <c:v>44519</c:v>
                </c:pt>
                <c:pt idx="968">
                  <c:v>44518</c:v>
                </c:pt>
                <c:pt idx="969">
                  <c:v>44517</c:v>
                </c:pt>
                <c:pt idx="970">
                  <c:v>44516</c:v>
                </c:pt>
                <c:pt idx="971">
                  <c:v>44515</c:v>
                </c:pt>
                <c:pt idx="972">
                  <c:v>44512</c:v>
                </c:pt>
                <c:pt idx="973">
                  <c:v>44511</c:v>
                </c:pt>
                <c:pt idx="974">
                  <c:v>44510</c:v>
                </c:pt>
                <c:pt idx="975">
                  <c:v>44509</c:v>
                </c:pt>
                <c:pt idx="976">
                  <c:v>44508</c:v>
                </c:pt>
                <c:pt idx="977">
                  <c:v>44505</c:v>
                </c:pt>
                <c:pt idx="978">
                  <c:v>44504</c:v>
                </c:pt>
                <c:pt idx="979">
                  <c:v>44503</c:v>
                </c:pt>
                <c:pt idx="980">
                  <c:v>44502</c:v>
                </c:pt>
                <c:pt idx="981">
                  <c:v>44501</c:v>
                </c:pt>
                <c:pt idx="982">
                  <c:v>44498</c:v>
                </c:pt>
                <c:pt idx="983">
                  <c:v>44497</c:v>
                </c:pt>
                <c:pt idx="984">
                  <c:v>44496</c:v>
                </c:pt>
                <c:pt idx="985">
                  <c:v>44495</c:v>
                </c:pt>
                <c:pt idx="986">
                  <c:v>44494</c:v>
                </c:pt>
                <c:pt idx="987">
                  <c:v>44491</c:v>
                </c:pt>
                <c:pt idx="988">
                  <c:v>44490</c:v>
                </c:pt>
                <c:pt idx="989">
                  <c:v>44489</c:v>
                </c:pt>
                <c:pt idx="990">
                  <c:v>44488</c:v>
                </c:pt>
                <c:pt idx="991">
                  <c:v>44487</c:v>
                </c:pt>
                <c:pt idx="992">
                  <c:v>44484</c:v>
                </c:pt>
                <c:pt idx="993">
                  <c:v>44483</c:v>
                </c:pt>
                <c:pt idx="994">
                  <c:v>44482</c:v>
                </c:pt>
                <c:pt idx="995">
                  <c:v>44481</c:v>
                </c:pt>
                <c:pt idx="996">
                  <c:v>44480</c:v>
                </c:pt>
                <c:pt idx="997">
                  <c:v>44477</c:v>
                </c:pt>
                <c:pt idx="998">
                  <c:v>44476</c:v>
                </c:pt>
                <c:pt idx="999">
                  <c:v>44475</c:v>
                </c:pt>
                <c:pt idx="1000">
                  <c:v>44474</c:v>
                </c:pt>
                <c:pt idx="1001">
                  <c:v>44473</c:v>
                </c:pt>
                <c:pt idx="1002">
                  <c:v>44470</c:v>
                </c:pt>
                <c:pt idx="1003">
                  <c:v>44469</c:v>
                </c:pt>
                <c:pt idx="1004">
                  <c:v>44468</c:v>
                </c:pt>
                <c:pt idx="1005">
                  <c:v>44467</c:v>
                </c:pt>
                <c:pt idx="1006">
                  <c:v>44466</c:v>
                </c:pt>
                <c:pt idx="1007">
                  <c:v>44463</c:v>
                </c:pt>
                <c:pt idx="1008">
                  <c:v>44462</c:v>
                </c:pt>
                <c:pt idx="1009">
                  <c:v>44461</c:v>
                </c:pt>
                <c:pt idx="1010">
                  <c:v>44460</c:v>
                </c:pt>
                <c:pt idx="1011">
                  <c:v>44459</c:v>
                </c:pt>
                <c:pt idx="1012">
                  <c:v>44456</c:v>
                </c:pt>
                <c:pt idx="1013">
                  <c:v>44455</c:v>
                </c:pt>
                <c:pt idx="1014">
                  <c:v>44454</c:v>
                </c:pt>
                <c:pt idx="1015">
                  <c:v>44453</c:v>
                </c:pt>
                <c:pt idx="1016">
                  <c:v>44452</c:v>
                </c:pt>
                <c:pt idx="1017">
                  <c:v>44449</c:v>
                </c:pt>
                <c:pt idx="1018">
                  <c:v>44448</c:v>
                </c:pt>
                <c:pt idx="1019">
                  <c:v>44447</c:v>
                </c:pt>
                <c:pt idx="1020">
                  <c:v>44446</c:v>
                </c:pt>
              </c:numCache>
            </c:numRef>
          </c:cat>
          <c:val>
            <c:numRef>
              <c:f>'Graph '!$Q$2:$Q$1022</c:f>
              <c:numCache>
                <c:formatCode>0%</c:formatCode>
                <c:ptCount val="1021"/>
                <c:pt idx="0">
                  <c:v>0.42150024701429101</c:v>
                </c:pt>
                <c:pt idx="1">
                  <c:v>0.41781510179232401</c:v>
                </c:pt>
                <c:pt idx="2">
                  <c:v>0.408008780048357</c:v>
                </c:pt>
                <c:pt idx="3">
                  <c:v>0.404374946975051</c:v>
                </c:pt>
                <c:pt idx="4">
                  <c:v>0.41917451091864999</c:v>
                </c:pt>
                <c:pt idx="5">
                  <c:v>0.42068930774364505</c:v>
                </c:pt>
                <c:pt idx="6">
                  <c:v>0.41983711143225899</c:v>
                </c:pt>
                <c:pt idx="7">
                  <c:v>0.41323380803466397</c:v>
                </c:pt>
                <c:pt idx="8">
                  <c:v>0.411205267757627</c:v>
                </c:pt>
                <c:pt idx="9">
                  <c:v>0.403061355969347</c:v>
                </c:pt>
                <c:pt idx="10">
                  <c:v>0.40568480618812403</c:v>
                </c:pt>
                <c:pt idx="11">
                  <c:v>0.40134307278511899</c:v>
                </c:pt>
                <c:pt idx="12">
                  <c:v>0.39698506461981098</c:v>
                </c:pt>
                <c:pt idx="13">
                  <c:v>0.39775360657974501</c:v>
                </c:pt>
                <c:pt idx="14">
                  <c:v>0.38382334299708604</c:v>
                </c:pt>
                <c:pt idx="15">
                  <c:v>0.38859775702333998</c:v>
                </c:pt>
                <c:pt idx="16">
                  <c:v>0.38128489472154398</c:v>
                </c:pt>
                <c:pt idx="17">
                  <c:v>0.37747577105554198</c:v>
                </c:pt>
                <c:pt idx="18">
                  <c:v>0.37620571763051996</c:v>
                </c:pt>
                <c:pt idx="19">
                  <c:v>0.36754205005762797</c:v>
                </c:pt>
                <c:pt idx="20">
                  <c:v>0.35741873326193796</c:v>
                </c:pt>
                <c:pt idx="21">
                  <c:v>0.36963454911390398</c:v>
                </c:pt>
                <c:pt idx="22">
                  <c:v>0.37142404734081902</c:v>
                </c:pt>
                <c:pt idx="23">
                  <c:v>0.36990365282687798</c:v>
                </c:pt>
                <c:pt idx="24">
                  <c:v>0.36697854937052299</c:v>
                </c:pt>
                <c:pt idx="25">
                  <c:v>0.36349699416869496</c:v>
                </c:pt>
                <c:pt idx="26">
                  <c:v>0.37416142089571303</c:v>
                </c:pt>
                <c:pt idx="27">
                  <c:v>0.349934623142794</c:v>
                </c:pt>
                <c:pt idx="28">
                  <c:v>0.35335356715716598</c:v>
                </c:pt>
                <c:pt idx="29">
                  <c:v>0.359563581075938</c:v>
                </c:pt>
                <c:pt idx="30">
                  <c:v>0.36619207407378396</c:v>
                </c:pt>
                <c:pt idx="31">
                  <c:v>0.36955307164148599</c:v>
                </c:pt>
                <c:pt idx="32">
                  <c:v>0.37327843729512999</c:v>
                </c:pt>
                <c:pt idx="33">
                  <c:v>0.37202362202334599</c:v>
                </c:pt>
                <c:pt idx="34">
                  <c:v>0.37039137739141703</c:v>
                </c:pt>
                <c:pt idx="35">
                  <c:v>0.35339430589337506</c:v>
                </c:pt>
                <c:pt idx="36">
                  <c:v>0.36021125441902796</c:v>
                </c:pt>
                <c:pt idx="37">
                  <c:v>0.35111044880391296</c:v>
                </c:pt>
                <c:pt idx="38">
                  <c:v>0.33909687538030198</c:v>
                </c:pt>
                <c:pt idx="39">
                  <c:v>0.33695731427252801</c:v>
                </c:pt>
                <c:pt idx="40">
                  <c:v>0.34012353299713405</c:v>
                </c:pt>
                <c:pt idx="41">
                  <c:v>0.32453676813045201</c:v>
                </c:pt>
                <c:pt idx="42">
                  <c:v>0.34650489839415899</c:v>
                </c:pt>
                <c:pt idx="43">
                  <c:v>0.34975995451553699</c:v>
                </c:pt>
                <c:pt idx="44">
                  <c:v>0.35659494003890102</c:v>
                </c:pt>
                <c:pt idx="45">
                  <c:v>0.364429942326155</c:v>
                </c:pt>
                <c:pt idx="46">
                  <c:v>0.37179276918482801</c:v>
                </c:pt>
                <c:pt idx="47">
                  <c:v>0.36986996303230396</c:v>
                </c:pt>
                <c:pt idx="48">
                  <c:v>0.36869019825674199</c:v>
                </c:pt>
                <c:pt idx="49">
                  <c:v>0.35446636698720296</c:v>
                </c:pt>
                <c:pt idx="50">
                  <c:v>0.34595798345207496</c:v>
                </c:pt>
                <c:pt idx="51">
                  <c:v>0.34401371949192899</c:v>
                </c:pt>
                <c:pt idx="52">
                  <c:v>0.34212543242122995</c:v>
                </c:pt>
                <c:pt idx="53">
                  <c:v>0.33072221441441002</c:v>
                </c:pt>
                <c:pt idx="54">
                  <c:v>0.32736453399571197</c:v>
                </c:pt>
                <c:pt idx="55">
                  <c:v>0.328225956127767</c:v>
                </c:pt>
                <c:pt idx="56">
                  <c:v>0.32822720005864398</c:v>
                </c:pt>
                <c:pt idx="57">
                  <c:v>0.34013638694952497</c:v>
                </c:pt>
                <c:pt idx="58">
                  <c:v>0.34132662147663095</c:v>
                </c:pt>
                <c:pt idx="59">
                  <c:v>0.33802626553916398</c:v>
                </c:pt>
                <c:pt idx="60">
                  <c:v>0.34161593906634996</c:v>
                </c:pt>
                <c:pt idx="61">
                  <c:v>0.35616847907003502</c:v>
                </c:pt>
                <c:pt idx="62">
                  <c:v>0.34425638967377403</c:v>
                </c:pt>
                <c:pt idx="63">
                  <c:v>0.332533481431666</c:v>
                </c:pt>
                <c:pt idx="64">
                  <c:v>0.33083105836611404</c:v>
                </c:pt>
                <c:pt idx="65">
                  <c:v>0.32512887922771905</c:v>
                </c:pt>
                <c:pt idx="66">
                  <c:v>0.31612914299632999</c:v>
                </c:pt>
                <c:pt idx="67">
                  <c:v>0.30204660154219204</c:v>
                </c:pt>
                <c:pt idx="68">
                  <c:v>0.30529212086018204</c:v>
                </c:pt>
                <c:pt idx="69">
                  <c:v>0.28668042708429597</c:v>
                </c:pt>
                <c:pt idx="70">
                  <c:v>0.279349527784789</c:v>
                </c:pt>
                <c:pt idx="71">
                  <c:v>0.28421485242594202</c:v>
                </c:pt>
                <c:pt idx="72">
                  <c:v>0.28645838542281998</c:v>
                </c:pt>
                <c:pt idx="73">
                  <c:v>0.30026674377957102</c:v>
                </c:pt>
                <c:pt idx="74">
                  <c:v>0.289445789083913</c:v>
                </c:pt>
                <c:pt idx="75">
                  <c:v>0.31031501007904</c:v>
                </c:pt>
                <c:pt idx="76">
                  <c:v>0.30643259815222401</c:v>
                </c:pt>
                <c:pt idx="77">
                  <c:v>0.30844175383976602</c:v>
                </c:pt>
                <c:pt idx="78">
                  <c:v>0.29708497591900701</c:v>
                </c:pt>
                <c:pt idx="79">
                  <c:v>0.29927242836553203</c:v>
                </c:pt>
                <c:pt idx="80">
                  <c:v>0.28758528313612503</c:v>
                </c:pt>
                <c:pt idx="81">
                  <c:v>0.29213941773631302</c:v>
                </c:pt>
                <c:pt idx="82">
                  <c:v>0.28470879664486398</c:v>
                </c:pt>
                <c:pt idx="83">
                  <c:v>0.28609070018787497</c:v>
                </c:pt>
                <c:pt idx="84">
                  <c:v>0.27483281477180599</c:v>
                </c:pt>
                <c:pt idx="85">
                  <c:v>0.27796420343186701</c:v>
                </c:pt>
                <c:pt idx="86">
                  <c:v>0.26829606167611098</c:v>
                </c:pt>
                <c:pt idx="87">
                  <c:v>0.28412228323654104</c:v>
                </c:pt>
                <c:pt idx="88">
                  <c:v>0.26416672947028702</c:v>
                </c:pt>
                <c:pt idx="89">
                  <c:v>0.26563892166275799</c:v>
                </c:pt>
                <c:pt idx="90">
                  <c:v>0.26581835869171</c:v>
                </c:pt>
                <c:pt idx="91">
                  <c:v>0.27747751547639199</c:v>
                </c:pt>
                <c:pt idx="92">
                  <c:v>0.27535371082638799</c:v>
                </c:pt>
                <c:pt idx="93">
                  <c:v>0.27284397662191501</c:v>
                </c:pt>
                <c:pt idx="94">
                  <c:v>0.27085327257570802</c:v>
                </c:pt>
                <c:pt idx="95">
                  <c:v>0.26592989782698001</c:v>
                </c:pt>
                <c:pt idx="96">
                  <c:v>0.25414126857022301</c:v>
                </c:pt>
                <c:pt idx="97">
                  <c:v>0.24496976621695399</c:v>
                </c:pt>
                <c:pt idx="98">
                  <c:v>0.21024947857164603</c:v>
                </c:pt>
                <c:pt idx="99">
                  <c:v>0.21019360534310499</c:v>
                </c:pt>
                <c:pt idx="100">
                  <c:v>0.20864107594818598</c:v>
                </c:pt>
                <c:pt idx="101">
                  <c:v>0.20582782260981802</c:v>
                </c:pt>
                <c:pt idx="102">
                  <c:v>0.21056377843980401</c:v>
                </c:pt>
                <c:pt idx="103">
                  <c:v>0.21679556114891699</c:v>
                </c:pt>
                <c:pt idx="104">
                  <c:v>0.19820148972711599</c:v>
                </c:pt>
                <c:pt idx="105">
                  <c:v>0.191494525423137</c:v>
                </c:pt>
                <c:pt idx="106">
                  <c:v>0.18767399905743201</c:v>
                </c:pt>
                <c:pt idx="107">
                  <c:v>0.17815067158789499</c:v>
                </c:pt>
                <c:pt idx="108">
                  <c:v>0.18074945051095198</c:v>
                </c:pt>
                <c:pt idx="109">
                  <c:v>0.175135175821172</c:v>
                </c:pt>
                <c:pt idx="110">
                  <c:v>0.159285734217711</c:v>
                </c:pt>
                <c:pt idx="111">
                  <c:v>0.13570930499144901</c:v>
                </c:pt>
                <c:pt idx="112">
                  <c:v>0.122642640419879</c:v>
                </c:pt>
                <c:pt idx="113">
                  <c:v>0.138269833040051</c:v>
                </c:pt>
                <c:pt idx="114">
                  <c:v>0.134593084351501</c:v>
                </c:pt>
                <c:pt idx="115">
                  <c:v>0.15069317802659898</c:v>
                </c:pt>
                <c:pt idx="116">
                  <c:v>0.15154413040710898</c:v>
                </c:pt>
                <c:pt idx="117">
                  <c:v>0.13677607937905101</c:v>
                </c:pt>
                <c:pt idx="118">
                  <c:v>0.109962009063684</c:v>
                </c:pt>
                <c:pt idx="119">
                  <c:v>0.124211444577101</c:v>
                </c:pt>
                <c:pt idx="120">
                  <c:v>5.7284231622682397E-2</c:v>
                </c:pt>
                <c:pt idx="121">
                  <c:v>6.5559689101164303E-2</c:v>
                </c:pt>
                <c:pt idx="122">
                  <c:v>8.5834000154550394E-2</c:v>
                </c:pt>
                <c:pt idx="123">
                  <c:v>0.14670513563617799</c:v>
                </c:pt>
                <c:pt idx="124">
                  <c:v>0.18872035224647699</c:v>
                </c:pt>
                <c:pt idx="125">
                  <c:v>0.188670802333225</c:v>
                </c:pt>
                <c:pt idx="126">
                  <c:v>0.17995717020345603</c:v>
                </c:pt>
                <c:pt idx="127">
                  <c:v>0.18147383292476701</c:v>
                </c:pt>
                <c:pt idx="128">
                  <c:v>0.19914200513074198</c:v>
                </c:pt>
                <c:pt idx="129">
                  <c:v>0.203839606425365</c:v>
                </c:pt>
                <c:pt idx="130">
                  <c:v>0.21367557518855801</c:v>
                </c:pt>
                <c:pt idx="131">
                  <c:v>0.21522261055543901</c:v>
                </c:pt>
                <c:pt idx="132">
                  <c:v>0.20014544270454301</c:v>
                </c:pt>
                <c:pt idx="133">
                  <c:v>0.203066296063737</c:v>
                </c:pt>
                <c:pt idx="134">
                  <c:v>0.20825276219286898</c:v>
                </c:pt>
                <c:pt idx="135">
                  <c:v>0.196835031659156</c:v>
                </c:pt>
                <c:pt idx="136">
                  <c:v>0.20469926632201102</c:v>
                </c:pt>
                <c:pt idx="137">
                  <c:v>0.19507911956590998</c:v>
                </c:pt>
                <c:pt idx="138">
                  <c:v>0.17405119372310998</c:v>
                </c:pt>
                <c:pt idx="139">
                  <c:v>0.18704114922395501</c:v>
                </c:pt>
                <c:pt idx="140">
                  <c:v>0.18604952899348198</c:v>
                </c:pt>
                <c:pt idx="141">
                  <c:v>0.19344075894050503</c:v>
                </c:pt>
                <c:pt idx="142">
                  <c:v>0.22559844531908302</c:v>
                </c:pt>
                <c:pt idx="143">
                  <c:v>0.22014878414864</c:v>
                </c:pt>
                <c:pt idx="144">
                  <c:v>0.230986531911133</c:v>
                </c:pt>
                <c:pt idx="145">
                  <c:v>0.21256008017495501</c:v>
                </c:pt>
                <c:pt idx="146">
                  <c:v>0.22358058211540299</c:v>
                </c:pt>
                <c:pt idx="147">
                  <c:v>0.237359189792022</c:v>
                </c:pt>
                <c:pt idx="148">
                  <c:v>0.23298791303069699</c:v>
                </c:pt>
                <c:pt idx="149">
                  <c:v>0.25313409920379198</c:v>
                </c:pt>
                <c:pt idx="150">
                  <c:v>0.24753682490265799</c:v>
                </c:pt>
                <c:pt idx="151">
                  <c:v>0.26037564280199499</c:v>
                </c:pt>
                <c:pt idx="152">
                  <c:v>0.27287144676210601</c:v>
                </c:pt>
                <c:pt idx="153">
                  <c:v>0.27770660607950204</c:v>
                </c:pt>
                <c:pt idx="154">
                  <c:v>0.27852998465891299</c:v>
                </c:pt>
                <c:pt idx="155">
                  <c:v>0.291669730169485</c:v>
                </c:pt>
                <c:pt idx="156">
                  <c:v>0.28727502604331701</c:v>
                </c:pt>
                <c:pt idx="157">
                  <c:v>0.28236181006341399</c:v>
                </c:pt>
                <c:pt idx="158">
                  <c:v>0.27119680481946601</c:v>
                </c:pt>
                <c:pt idx="159">
                  <c:v>0.27025048440508298</c:v>
                </c:pt>
                <c:pt idx="160">
                  <c:v>0.27609727050788402</c:v>
                </c:pt>
                <c:pt idx="161">
                  <c:v>0.27018237918958798</c:v>
                </c:pt>
                <c:pt idx="162">
                  <c:v>0.27319942986990697</c:v>
                </c:pt>
                <c:pt idx="163">
                  <c:v>0.25911025411776101</c:v>
                </c:pt>
                <c:pt idx="164">
                  <c:v>0.249923720933066</c:v>
                </c:pt>
                <c:pt idx="165">
                  <c:v>0.23646957189343101</c:v>
                </c:pt>
                <c:pt idx="166">
                  <c:v>0.24809462423991299</c:v>
                </c:pt>
                <c:pt idx="167">
                  <c:v>0.255467298884692</c:v>
                </c:pt>
                <c:pt idx="168">
                  <c:v>0.24289613344563998</c:v>
                </c:pt>
                <c:pt idx="169">
                  <c:v>0.24695684213143701</c:v>
                </c:pt>
                <c:pt idx="170">
                  <c:v>0.22960773819531302</c:v>
                </c:pt>
                <c:pt idx="171">
                  <c:v>0.26217633640679899</c:v>
                </c:pt>
                <c:pt idx="172">
                  <c:v>0.25804990670635403</c:v>
                </c:pt>
                <c:pt idx="173">
                  <c:v>0.25029026589804099</c:v>
                </c:pt>
                <c:pt idx="174">
                  <c:v>0.241168624440743</c:v>
                </c:pt>
                <c:pt idx="175">
                  <c:v>0.227483518901684</c:v>
                </c:pt>
                <c:pt idx="176">
                  <c:v>0.21911507759017501</c:v>
                </c:pt>
                <c:pt idx="177">
                  <c:v>0.221054884131347</c:v>
                </c:pt>
                <c:pt idx="178">
                  <c:v>0.19735686066189601</c:v>
                </c:pt>
                <c:pt idx="179">
                  <c:v>0.19673188905730399</c:v>
                </c:pt>
                <c:pt idx="180">
                  <c:v>0.20708170493344402</c:v>
                </c:pt>
                <c:pt idx="181">
                  <c:v>0.220763804306219</c:v>
                </c:pt>
                <c:pt idx="182">
                  <c:v>0.22708473539482299</c:v>
                </c:pt>
                <c:pt idx="183">
                  <c:v>0.25340226996860798</c:v>
                </c:pt>
                <c:pt idx="184">
                  <c:v>0.23803464425802301</c:v>
                </c:pt>
                <c:pt idx="185">
                  <c:v>0.224089142522125</c:v>
                </c:pt>
                <c:pt idx="186">
                  <c:v>0.21843485472247998</c:v>
                </c:pt>
                <c:pt idx="187">
                  <c:v>0.22554765147495398</c:v>
                </c:pt>
                <c:pt idx="188">
                  <c:v>0.236683320682395</c:v>
                </c:pt>
                <c:pt idx="189">
                  <c:v>0.243938132876616</c:v>
                </c:pt>
                <c:pt idx="190">
                  <c:v>0.24681161320159301</c:v>
                </c:pt>
                <c:pt idx="191">
                  <c:v>0.23796415484168101</c:v>
                </c:pt>
                <c:pt idx="192">
                  <c:v>0.22545674086005502</c:v>
                </c:pt>
                <c:pt idx="193">
                  <c:v>0.228491828538085</c:v>
                </c:pt>
                <c:pt idx="194">
                  <c:v>0.230452678243253</c:v>
                </c:pt>
                <c:pt idx="195">
                  <c:v>0.25707549418634096</c:v>
                </c:pt>
                <c:pt idx="196">
                  <c:v>0.26507998205553401</c:v>
                </c:pt>
                <c:pt idx="197">
                  <c:v>0.26232612641652503</c:v>
                </c:pt>
                <c:pt idx="198">
                  <c:v>0.27068658583824201</c:v>
                </c:pt>
                <c:pt idx="199">
                  <c:v>0.275332874984205</c:v>
                </c:pt>
                <c:pt idx="200">
                  <c:v>0.26480807949808699</c:v>
                </c:pt>
                <c:pt idx="201">
                  <c:v>0.27483281477180599</c:v>
                </c:pt>
                <c:pt idx="202">
                  <c:v>0.28071722978362501</c:v>
                </c:pt>
                <c:pt idx="203">
                  <c:v>0.27220418150770997</c:v>
                </c:pt>
                <c:pt idx="204">
                  <c:v>0.27437359695652302</c:v>
                </c:pt>
                <c:pt idx="205">
                  <c:v>0.26763366848431397</c:v>
                </c:pt>
                <c:pt idx="206">
                  <c:v>0.25742980716436298</c:v>
                </c:pt>
                <c:pt idx="207">
                  <c:v>0.244460169201168</c:v>
                </c:pt>
                <c:pt idx="208">
                  <c:v>0.23345044799498399</c:v>
                </c:pt>
                <c:pt idx="209">
                  <c:v>0.236631075585578</c:v>
                </c:pt>
                <c:pt idx="210">
                  <c:v>0.238104304387113</c:v>
                </c:pt>
                <c:pt idx="211">
                  <c:v>0.23795596563007698</c:v>
                </c:pt>
                <c:pt idx="212">
                  <c:v>0.23597034096828298</c:v>
                </c:pt>
                <c:pt idx="213">
                  <c:v>0.23844306822917702</c:v>
                </c:pt>
                <c:pt idx="214">
                  <c:v>0.237055359675409</c:v>
                </c:pt>
                <c:pt idx="215">
                  <c:v>0.22732947879479601</c:v>
                </c:pt>
                <c:pt idx="216">
                  <c:v>0.21860599887892099</c:v>
                </c:pt>
                <c:pt idx="217">
                  <c:v>0.23611349667999998</c:v>
                </c:pt>
                <c:pt idx="218">
                  <c:v>0.23896406794466599</c:v>
                </c:pt>
                <c:pt idx="219">
                  <c:v>0.24375092127968601</c:v>
                </c:pt>
                <c:pt idx="220">
                  <c:v>0.25158488695787601</c:v>
                </c:pt>
                <c:pt idx="221">
                  <c:v>0.248337398082665</c:v>
                </c:pt>
                <c:pt idx="222">
                  <c:v>0.250358682096255</c:v>
                </c:pt>
                <c:pt idx="223">
                  <c:v>0.23430461386359203</c:v>
                </c:pt>
                <c:pt idx="224">
                  <c:v>0.21995991397720802</c:v>
                </c:pt>
                <c:pt idx="225">
                  <c:v>0.20542416704035699</c:v>
                </c:pt>
                <c:pt idx="226">
                  <c:v>0.20456326321283499</c:v>
                </c:pt>
                <c:pt idx="227">
                  <c:v>0.18845104121169001</c:v>
                </c:pt>
                <c:pt idx="228">
                  <c:v>0.22276902087932002</c:v>
                </c:pt>
                <c:pt idx="229">
                  <c:v>0.23090287755968</c:v>
                </c:pt>
                <c:pt idx="230">
                  <c:v>0.220388551825108</c:v>
                </c:pt>
                <c:pt idx="231">
                  <c:v>0.22080298812883201</c:v>
                </c:pt>
                <c:pt idx="232">
                  <c:v>0.213049048670371</c:v>
                </c:pt>
                <c:pt idx="233">
                  <c:v>0.21128453272189499</c:v>
                </c:pt>
                <c:pt idx="234">
                  <c:v>0.22563472663631701</c:v>
                </c:pt>
                <c:pt idx="235">
                  <c:v>0.22409297797566199</c:v>
                </c:pt>
                <c:pt idx="236">
                  <c:v>0.22129247492878001</c:v>
                </c:pt>
                <c:pt idx="237">
                  <c:v>0.21265130177257402</c:v>
                </c:pt>
                <c:pt idx="238">
                  <c:v>0.20431686123835899</c:v>
                </c:pt>
                <c:pt idx="239">
                  <c:v>0.19603787928906002</c:v>
                </c:pt>
                <c:pt idx="240">
                  <c:v>0.22220676412309001</c:v>
                </c:pt>
                <c:pt idx="241">
                  <c:v>0.214818954985978</c:v>
                </c:pt>
                <c:pt idx="242">
                  <c:v>0.201962203749837</c:v>
                </c:pt>
                <c:pt idx="243">
                  <c:v>0.19695279044880898</c:v>
                </c:pt>
                <c:pt idx="244">
                  <c:v>0.19383373743660801</c:v>
                </c:pt>
                <c:pt idx="245">
                  <c:v>0.192733895219869</c:v>
                </c:pt>
                <c:pt idx="246">
                  <c:v>0.188421705175183</c:v>
                </c:pt>
                <c:pt idx="247">
                  <c:v>0.17123628181024</c:v>
                </c:pt>
                <c:pt idx="248">
                  <c:v>0.17098791027854301</c:v>
                </c:pt>
                <c:pt idx="249">
                  <c:v>0.15980922179495299</c:v>
                </c:pt>
                <c:pt idx="250">
                  <c:v>0.17912943786597602</c:v>
                </c:pt>
                <c:pt idx="251">
                  <c:v>0.179932084264111</c:v>
                </c:pt>
                <c:pt idx="252">
                  <c:v>0.180857154192686</c:v>
                </c:pt>
                <c:pt idx="253">
                  <c:v>0.16443851055226802</c:v>
                </c:pt>
                <c:pt idx="254">
                  <c:v>0.162812589235629</c:v>
                </c:pt>
                <c:pt idx="255">
                  <c:v>0.14612950662302501</c:v>
                </c:pt>
                <c:pt idx="256">
                  <c:v>0.14185795165364198</c:v>
                </c:pt>
                <c:pt idx="257">
                  <c:v>0.14911649564049201</c:v>
                </c:pt>
                <c:pt idx="258">
                  <c:v>0.120741810379507</c:v>
                </c:pt>
                <c:pt idx="259">
                  <c:v>0.125690996693926</c:v>
                </c:pt>
                <c:pt idx="260">
                  <c:v>0.12346197622394101</c:v>
                </c:pt>
                <c:pt idx="261">
                  <c:v>0.12487062428079901</c:v>
                </c:pt>
                <c:pt idx="262">
                  <c:v>0.120201218752713</c:v>
                </c:pt>
                <c:pt idx="263">
                  <c:v>0.106811961440474</c:v>
                </c:pt>
                <c:pt idx="264">
                  <c:v>7.8462051136115193E-2</c:v>
                </c:pt>
                <c:pt idx="265">
                  <c:v>7.8689586825629002E-2</c:v>
                </c:pt>
                <c:pt idx="266">
                  <c:v>6.2213307721262101E-2</c:v>
                </c:pt>
                <c:pt idx="267">
                  <c:v>8.6918189574425195E-2</c:v>
                </c:pt>
                <c:pt idx="268">
                  <c:v>8.5415624736382798E-2</c:v>
                </c:pt>
                <c:pt idx="269">
                  <c:v>9.1494922252204208E-2</c:v>
                </c:pt>
                <c:pt idx="270">
                  <c:v>0.13369994198209301</c:v>
                </c:pt>
                <c:pt idx="271">
                  <c:v>0.12539742900704501</c:v>
                </c:pt>
                <c:pt idx="272">
                  <c:v>0.133531078365593</c:v>
                </c:pt>
                <c:pt idx="273">
                  <c:v>0.14764793157974401</c:v>
                </c:pt>
                <c:pt idx="274">
                  <c:v>0.14440479646260099</c:v>
                </c:pt>
                <c:pt idx="275">
                  <c:v>0.15311355652976899</c:v>
                </c:pt>
                <c:pt idx="276">
                  <c:v>0.134852754921994</c:v>
                </c:pt>
                <c:pt idx="277">
                  <c:v>0.15028143690644</c:v>
                </c:pt>
                <c:pt idx="278">
                  <c:v>0.142381853874508</c:v>
                </c:pt>
                <c:pt idx="279">
                  <c:v>0.15069276338297399</c:v>
                </c:pt>
                <c:pt idx="280">
                  <c:v>0.133811170134644</c:v>
                </c:pt>
                <c:pt idx="281">
                  <c:v>0.13113972491621101</c:v>
                </c:pt>
                <c:pt idx="282">
                  <c:v>0.11070909321599701</c:v>
                </c:pt>
                <c:pt idx="283">
                  <c:v>0.10876254871591</c:v>
                </c:pt>
                <c:pt idx="284">
                  <c:v>8.4297123556494796E-2</c:v>
                </c:pt>
                <c:pt idx="285">
                  <c:v>8.1488431298008701E-2</c:v>
                </c:pt>
                <c:pt idx="286">
                  <c:v>7.5756190496762396E-2</c:v>
                </c:pt>
                <c:pt idx="287">
                  <c:v>4.3517855933017199E-2</c:v>
                </c:pt>
                <c:pt idx="288">
                  <c:v>5.4381622583011907E-2</c:v>
                </c:pt>
                <c:pt idx="289">
                  <c:v>3.55760829121868E-2</c:v>
                </c:pt>
                <c:pt idx="290">
                  <c:v>6.6184349723036801E-2</c:v>
                </c:pt>
                <c:pt idx="291">
                  <c:v>9.1424329174956395E-2</c:v>
                </c:pt>
                <c:pt idx="292">
                  <c:v>0.113187729148555</c:v>
                </c:pt>
                <c:pt idx="293">
                  <c:v>7.1529209717124495E-2</c:v>
                </c:pt>
                <c:pt idx="294">
                  <c:v>9.0991130247175797E-2</c:v>
                </c:pt>
                <c:pt idx="295">
                  <c:v>9.3419905283762997E-2</c:v>
                </c:pt>
                <c:pt idx="296">
                  <c:v>8.2002693054581799E-2</c:v>
                </c:pt>
                <c:pt idx="297">
                  <c:v>9.4462837662896801E-2</c:v>
                </c:pt>
                <c:pt idx="298">
                  <c:v>0.13038953093670599</c:v>
                </c:pt>
                <c:pt idx="299">
                  <c:v>0.13574797050953</c:v>
                </c:pt>
                <c:pt idx="300">
                  <c:v>0.115812734280928</c:v>
                </c:pt>
                <c:pt idx="301">
                  <c:v>0.124604112090485</c:v>
                </c:pt>
                <c:pt idx="302">
                  <c:v>0.12790757785514401</c:v>
                </c:pt>
                <c:pt idx="303">
                  <c:v>0.16308200393132199</c:v>
                </c:pt>
                <c:pt idx="304">
                  <c:v>0.16633249897281799</c:v>
                </c:pt>
                <c:pt idx="305">
                  <c:v>0.16913911801317699</c:v>
                </c:pt>
                <c:pt idx="306">
                  <c:v>0.16134402517488</c:v>
                </c:pt>
                <c:pt idx="307">
                  <c:v>0.18319149414355698</c:v>
                </c:pt>
                <c:pt idx="308">
                  <c:v>0.16800537868005003</c:v>
                </c:pt>
                <c:pt idx="309">
                  <c:v>0.16706890605177299</c:v>
                </c:pt>
                <c:pt idx="310">
                  <c:v>0.16943610650996799</c:v>
                </c:pt>
                <c:pt idx="311">
                  <c:v>0.16727270339372499</c:v>
                </c:pt>
                <c:pt idx="312">
                  <c:v>0.14891041775860001</c:v>
                </c:pt>
                <c:pt idx="313">
                  <c:v>0.146802369566366</c:v>
                </c:pt>
                <c:pt idx="314">
                  <c:v>0.13944949415470601</c:v>
                </c:pt>
                <c:pt idx="315">
                  <c:v>0.14744040244516199</c:v>
                </c:pt>
                <c:pt idx="316">
                  <c:v>0.153877019105291</c:v>
                </c:pt>
                <c:pt idx="317">
                  <c:v>0.15024494826739299</c:v>
                </c:pt>
                <c:pt idx="318">
                  <c:v>0.13429682148105501</c:v>
                </c:pt>
                <c:pt idx="319">
                  <c:v>0.15103909447120401</c:v>
                </c:pt>
                <c:pt idx="320">
                  <c:v>0.16652789978135299</c:v>
                </c:pt>
                <c:pt idx="321">
                  <c:v>0.17561699171404602</c:v>
                </c:pt>
                <c:pt idx="322">
                  <c:v>0.16662119459709898</c:v>
                </c:pt>
                <c:pt idx="323">
                  <c:v>0.15942837162489598</c:v>
                </c:pt>
                <c:pt idx="324">
                  <c:v>0.159798130077969</c:v>
                </c:pt>
                <c:pt idx="325">
                  <c:v>0.158339310142421</c:v>
                </c:pt>
                <c:pt idx="326">
                  <c:v>0.14267272637782299</c:v>
                </c:pt>
                <c:pt idx="327">
                  <c:v>0.14567992927203599</c:v>
                </c:pt>
                <c:pt idx="328">
                  <c:v>0.14204008386615899</c:v>
                </c:pt>
                <c:pt idx="329">
                  <c:v>0.146190666557792</c:v>
                </c:pt>
                <c:pt idx="330">
                  <c:v>0.14732368026457299</c:v>
                </c:pt>
                <c:pt idx="331">
                  <c:v>0.124880575727812</c:v>
                </c:pt>
                <c:pt idx="332">
                  <c:v>0.12538778854275098</c:v>
                </c:pt>
                <c:pt idx="333">
                  <c:v>0.10866096102765299</c:v>
                </c:pt>
                <c:pt idx="334">
                  <c:v>0.111643285304333</c:v>
                </c:pt>
                <c:pt idx="335">
                  <c:v>0.124001531241672</c:v>
                </c:pt>
                <c:pt idx="336">
                  <c:v>0.136675113656233</c:v>
                </c:pt>
                <c:pt idx="337">
                  <c:v>0.123365778902817</c:v>
                </c:pt>
                <c:pt idx="338">
                  <c:v>0.10385886953939399</c:v>
                </c:pt>
                <c:pt idx="339">
                  <c:v>9.6481841136546398E-2</c:v>
                </c:pt>
                <c:pt idx="340">
                  <c:v>9.6818117116857394E-2</c:v>
                </c:pt>
                <c:pt idx="341">
                  <c:v>9.8002857615925101E-2</c:v>
                </c:pt>
                <c:pt idx="342">
                  <c:v>9.3186668244398085E-2</c:v>
                </c:pt>
                <c:pt idx="343">
                  <c:v>9.5803173182447507E-2</c:v>
                </c:pt>
                <c:pt idx="344">
                  <c:v>0.100920186504302</c:v>
                </c:pt>
                <c:pt idx="345">
                  <c:v>8.6451508173882405E-2</c:v>
                </c:pt>
                <c:pt idx="346">
                  <c:v>7.5498696805303495E-2</c:v>
                </c:pt>
                <c:pt idx="347">
                  <c:v>7.2061197488689402E-2</c:v>
                </c:pt>
                <c:pt idx="348">
                  <c:v>6.8110369363659606E-2</c:v>
                </c:pt>
                <c:pt idx="349">
                  <c:v>6.5971741204042408E-2</c:v>
                </c:pt>
                <c:pt idx="350">
                  <c:v>6.4199450687587797E-2</c:v>
                </c:pt>
                <c:pt idx="351">
                  <c:v>6.6744740582951101E-2</c:v>
                </c:pt>
                <c:pt idx="352">
                  <c:v>5.1648499125280002E-2</c:v>
                </c:pt>
                <c:pt idx="353">
                  <c:v>3.39783573620836E-2</c:v>
                </c:pt>
                <c:pt idx="354">
                  <c:v>2.0934290868105099E-2</c:v>
                </c:pt>
                <c:pt idx="355">
                  <c:v>2.84014005986012E-2</c:v>
                </c:pt>
                <c:pt idx="356">
                  <c:v>4.1616196605394798E-2</c:v>
                </c:pt>
                <c:pt idx="357">
                  <c:v>4.1220833908444596E-2</c:v>
                </c:pt>
                <c:pt idx="358">
                  <c:v>2.0392040666808203E-2</c:v>
                </c:pt>
                <c:pt idx="359">
                  <c:v>2.69726423259046E-2</c:v>
                </c:pt>
                <c:pt idx="360">
                  <c:v>3.2748213386019499E-2</c:v>
                </c:pt>
                <c:pt idx="361">
                  <c:v>1.6132925006191099E-2</c:v>
                </c:pt>
                <c:pt idx="362">
                  <c:v>1.0894469498697E-3</c:v>
                </c:pt>
                <c:pt idx="363">
                  <c:v>2.37040066257907E-2</c:v>
                </c:pt>
                <c:pt idx="364">
                  <c:v>2.4493177106095398E-2</c:v>
                </c:pt>
                <c:pt idx="365">
                  <c:v>3.5870376225412198E-2</c:v>
                </c:pt>
                <c:pt idx="366">
                  <c:v>4.0839258112043496E-2</c:v>
                </c:pt>
                <c:pt idx="367">
                  <c:v>5.8009546984654305E-2</c:v>
                </c:pt>
                <c:pt idx="368">
                  <c:v>8.05873070388088E-2</c:v>
                </c:pt>
                <c:pt idx="369">
                  <c:v>6.8111613294536202E-2</c:v>
                </c:pt>
                <c:pt idx="370">
                  <c:v>6.7510691020225611E-2</c:v>
                </c:pt>
                <c:pt idx="371">
                  <c:v>7.0445642262687999E-2</c:v>
                </c:pt>
                <c:pt idx="372">
                  <c:v>6.6945635419524099E-2</c:v>
                </c:pt>
                <c:pt idx="373">
                  <c:v>5.9304375366302196E-2</c:v>
                </c:pt>
                <c:pt idx="374">
                  <c:v>6.7485501419974198E-2</c:v>
                </c:pt>
                <c:pt idx="375">
                  <c:v>6.2099384385145596E-2</c:v>
                </c:pt>
                <c:pt idx="376">
                  <c:v>6.4871277021865306E-2</c:v>
                </c:pt>
                <c:pt idx="377">
                  <c:v>6.5373514113297795E-2</c:v>
                </c:pt>
                <c:pt idx="378">
                  <c:v>6.4892423846767702E-2</c:v>
                </c:pt>
                <c:pt idx="379">
                  <c:v>6.8274257256653398E-2</c:v>
                </c:pt>
                <c:pt idx="380">
                  <c:v>7.5418670585574693E-2</c:v>
                </c:pt>
                <c:pt idx="381">
                  <c:v>7.6476219152508698E-2</c:v>
                </c:pt>
                <c:pt idx="382">
                  <c:v>7.5111626980864002E-2</c:v>
                </c:pt>
                <c:pt idx="383">
                  <c:v>6.6748472375580903E-2</c:v>
                </c:pt>
                <c:pt idx="384">
                  <c:v>5.1149060878319899E-2</c:v>
                </c:pt>
                <c:pt idx="385">
                  <c:v>4.7381194253058603E-2</c:v>
                </c:pt>
                <c:pt idx="386">
                  <c:v>3.9048515954252495E-2</c:v>
                </c:pt>
                <c:pt idx="387">
                  <c:v>4.35434601768942E-2</c:v>
                </c:pt>
                <c:pt idx="388">
                  <c:v>5.6196414071084201E-2</c:v>
                </c:pt>
                <c:pt idx="389">
                  <c:v>6.0968547557397799E-2</c:v>
                </c:pt>
                <c:pt idx="390">
                  <c:v>3.6925644252405701E-2</c:v>
                </c:pt>
                <c:pt idx="391">
                  <c:v>4.5503791577530102E-2</c:v>
                </c:pt>
                <c:pt idx="392">
                  <c:v>5.6544507394723095E-2</c:v>
                </c:pt>
                <c:pt idx="393">
                  <c:v>3.99942144031976E-2</c:v>
                </c:pt>
                <c:pt idx="394">
                  <c:v>2.2587060359498499E-2</c:v>
                </c:pt>
                <c:pt idx="395">
                  <c:v>4.1847671409351299E-2</c:v>
                </c:pt>
                <c:pt idx="396">
                  <c:v>3.6582941295898799E-2</c:v>
                </c:pt>
                <c:pt idx="397">
                  <c:v>2.1785450570427699E-2</c:v>
                </c:pt>
                <c:pt idx="398">
                  <c:v>1.4529705428049499E-2</c:v>
                </c:pt>
                <c:pt idx="399">
                  <c:v>1.8187380509824099E-2</c:v>
                </c:pt>
                <c:pt idx="400">
                  <c:v>1.53502851629886E-2</c:v>
                </c:pt>
                <c:pt idx="401">
                  <c:v>1.13464863147964E-2</c:v>
                </c:pt>
                <c:pt idx="402">
                  <c:v>1.2600161316609699E-2</c:v>
                </c:pt>
                <c:pt idx="403">
                  <c:v>-2.2176932505396599E-2</c:v>
                </c:pt>
                <c:pt idx="404">
                  <c:v>-2.2882966938781002E-2</c:v>
                </c:pt>
                <c:pt idx="405">
                  <c:v>-9.7057998410049195E-3</c:v>
                </c:pt>
                <c:pt idx="406">
                  <c:v>-9.2228436781598595E-3</c:v>
                </c:pt>
                <c:pt idx="407">
                  <c:v>-1.45066473983871E-2</c:v>
                </c:pt>
                <c:pt idx="408">
                  <c:v>-2.5126810918378401E-2</c:v>
                </c:pt>
                <c:pt idx="409">
                  <c:v>-9.0956517460261607E-3</c:v>
                </c:pt>
                <c:pt idx="410">
                  <c:v>-9.7827162335421599E-3</c:v>
                </c:pt>
                <c:pt idx="411">
                  <c:v>-1.6034194514868001E-2</c:v>
                </c:pt>
                <c:pt idx="412">
                  <c:v>-1.8044490472381301E-2</c:v>
                </c:pt>
                <c:pt idx="413">
                  <c:v>-3.2566761491401704E-2</c:v>
                </c:pt>
                <c:pt idx="414">
                  <c:v>-3.5154759680195401E-2</c:v>
                </c:pt>
                <c:pt idx="415">
                  <c:v>-3.1403167817236503E-2</c:v>
                </c:pt>
                <c:pt idx="416">
                  <c:v>-5.7264905385649802E-2</c:v>
                </c:pt>
                <c:pt idx="417">
                  <c:v>-6.6836538837562603E-2</c:v>
                </c:pt>
                <c:pt idx="418">
                  <c:v>-5.4527946474381694E-2</c:v>
                </c:pt>
                <c:pt idx="419">
                  <c:v>-5.4504830092257997E-2</c:v>
                </c:pt>
                <c:pt idx="420">
                  <c:v>-6.1705323971533305E-2</c:v>
                </c:pt>
                <c:pt idx="421">
                  <c:v>-6.0878006277679197E-2</c:v>
                </c:pt>
                <c:pt idx="422">
                  <c:v>-6.310350227684651E-2</c:v>
                </c:pt>
                <c:pt idx="423">
                  <c:v>-6.9924804560567599E-2</c:v>
                </c:pt>
                <c:pt idx="424">
                  <c:v>-7.7895602635185593E-2</c:v>
                </c:pt>
                <c:pt idx="425">
                  <c:v>-7.9844531336119295E-2</c:v>
                </c:pt>
                <c:pt idx="426">
                  <c:v>-8.8722984307039413E-2</c:v>
                </c:pt>
                <c:pt idx="427">
                  <c:v>-9.8929333488744095E-2</c:v>
                </c:pt>
                <c:pt idx="428">
                  <c:v>-9.1553652677679107E-2</c:v>
                </c:pt>
                <c:pt idx="429">
                  <c:v>-9.1142326201145596E-2</c:v>
                </c:pt>
                <c:pt idx="430">
                  <c:v>-8.987393135062581E-2</c:v>
                </c:pt>
                <c:pt idx="431">
                  <c:v>-8.8162178803499594E-2</c:v>
                </c:pt>
                <c:pt idx="432">
                  <c:v>-9.2047182252975299E-2</c:v>
                </c:pt>
                <c:pt idx="433">
                  <c:v>-9.0182529868932201E-2</c:v>
                </c:pt>
                <c:pt idx="434">
                  <c:v>-0.103072556256023</c:v>
                </c:pt>
                <c:pt idx="435">
                  <c:v>-0.104822870660325</c:v>
                </c:pt>
                <c:pt idx="436">
                  <c:v>-0.10564459066523399</c:v>
                </c:pt>
                <c:pt idx="437">
                  <c:v>-9.5851019212752006E-2</c:v>
                </c:pt>
                <c:pt idx="438">
                  <c:v>-8.4124068195294194E-2</c:v>
                </c:pt>
                <c:pt idx="439">
                  <c:v>-7.9623526283707696E-2</c:v>
                </c:pt>
                <c:pt idx="440">
                  <c:v>-8.2574026662127806E-2</c:v>
                </c:pt>
                <c:pt idx="441">
                  <c:v>-8.8655812039702298E-2</c:v>
                </c:pt>
                <c:pt idx="442">
                  <c:v>-9.1434027991711395E-2</c:v>
                </c:pt>
                <c:pt idx="443">
                  <c:v>-8.970506773412551E-2</c:v>
                </c:pt>
                <c:pt idx="444">
                  <c:v>-9.8541434377053608E-2</c:v>
                </c:pt>
                <c:pt idx="445">
                  <c:v>-9.0101674361952405E-2</c:v>
                </c:pt>
                <c:pt idx="446">
                  <c:v>-9.6521601616152905E-2</c:v>
                </c:pt>
                <c:pt idx="447">
                  <c:v>-0.10170537256171899</c:v>
                </c:pt>
                <c:pt idx="448">
                  <c:v>-0.10412429981220001</c:v>
                </c:pt>
                <c:pt idx="449">
                  <c:v>-0.11071868837184499</c:v>
                </c:pt>
                <c:pt idx="450">
                  <c:v>-0.12087382906579601</c:v>
                </c:pt>
                <c:pt idx="451">
                  <c:v>-0.127569597991886</c:v>
                </c:pt>
                <c:pt idx="452">
                  <c:v>-0.12336189814083501</c:v>
                </c:pt>
                <c:pt idx="453">
                  <c:v>-0.12897648381333501</c:v>
                </c:pt>
                <c:pt idx="454">
                  <c:v>-0.13603019384917001</c:v>
                </c:pt>
                <c:pt idx="455">
                  <c:v>-0.13370082962180599</c:v>
                </c:pt>
                <c:pt idx="456">
                  <c:v>-0.132613426713833</c:v>
                </c:pt>
                <c:pt idx="457">
                  <c:v>-0.12178832558191999</c:v>
                </c:pt>
                <c:pt idx="458">
                  <c:v>-0.123086782095291</c:v>
                </c:pt>
                <c:pt idx="459">
                  <c:v>-0.121205543966226</c:v>
                </c:pt>
                <c:pt idx="460">
                  <c:v>-0.121827820387252</c:v>
                </c:pt>
                <c:pt idx="461">
                  <c:v>-0.124172630089668</c:v>
                </c:pt>
                <c:pt idx="462">
                  <c:v>-0.12276076854471199</c:v>
                </c:pt>
                <c:pt idx="463">
                  <c:v>-0.122003007319042</c:v>
                </c:pt>
                <c:pt idx="464">
                  <c:v>-0.12004796262463101</c:v>
                </c:pt>
                <c:pt idx="465">
                  <c:v>-0.11268648335774101</c:v>
                </c:pt>
                <c:pt idx="466">
                  <c:v>-0.12146044613502599</c:v>
                </c:pt>
                <c:pt idx="467">
                  <c:v>-0.126241909102914</c:v>
                </c:pt>
                <c:pt idx="468">
                  <c:v>-0.124491491037706</c:v>
                </c:pt>
                <c:pt idx="469">
                  <c:v>-0.126260671726969</c:v>
                </c:pt>
                <c:pt idx="470">
                  <c:v>-0.144499704544404</c:v>
                </c:pt>
                <c:pt idx="471">
                  <c:v>-0.144533290678072</c:v>
                </c:pt>
                <c:pt idx="472">
                  <c:v>-0.15201055917739401</c:v>
                </c:pt>
                <c:pt idx="473">
                  <c:v>-0.154278763469992</c:v>
                </c:pt>
                <c:pt idx="474">
                  <c:v>-0.15714840834143198</c:v>
                </c:pt>
                <c:pt idx="475">
                  <c:v>-0.15834030144304001</c:v>
                </c:pt>
                <c:pt idx="476">
                  <c:v>-0.16159525390351098</c:v>
                </c:pt>
                <c:pt idx="477">
                  <c:v>-0.171565670862285</c:v>
                </c:pt>
                <c:pt idx="478">
                  <c:v>-0.1860407761689</c:v>
                </c:pt>
                <c:pt idx="479">
                  <c:v>-0.19307779679880799</c:v>
                </c:pt>
                <c:pt idx="480">
                  <c:v>-0.191049878487209</c:v>
                </c:pt>
                <c:pt idx="481">
                  <c:v>-0.18961065046296799</c:v>
                </c:pt>
                <c:pt idx="482">
                  <c:v>-0.187334775263297</c:v>
                </c:pt>
                <c:pt idx="483">
                  <c:v>-0.17982910367562599</c:v>
                </c:pt>
                <c:pt idx="484">
                  <c:v>-0.16390233103600299</c:v>
                </c:pt>
                <c:pt idx="485">
                  <c:v>-0.16878973545021603</c:v>
                </c:pt>
                <c:pt idx="486">
                  <c:v>-0.17065594274785501</c:v>
                </c:pt>
                <c:pt idx="487">
                  <c:v>-0.15969276528863799</c:v>
                </c:pt>
                <c:pt idx="488">
                  <c:v>-0.15212572644438699</c:v>
                </c:pt>
                <c:pt idx="489">
                  <c:v>-0.13363272440631099</c:v>
                </c:pt>
                <c:pt idx="490">
                  <c:v>-0.133144896180866</c:v>
                </c:pt>
                <c:pt idx="491">
                  <c:v>-0.138922955102734</c:v>
                </c:pt>
                <c:pt idx="492">
                  <c:v>-0.127106959366692</c:v>
                </c:pt>
                <c:pt idx="493">
                  <c:v>-0.124878249879427</c:v>
                </c:pt>
                <c:pt idx="494">
                  <c:v>-0.13084611192088499</c:v>
                </c:pt>
                <c:pt idx="495">
                  <c:v>-0.14207631987494801</c:v>
                </c:pt>
                <c:pt idx="496">
                  <c:v>-0.14213188212077099</c:v>
                </c:pt>
                <c:pt idx="497">
                  <c:v>-0.15701396014585101</c:v>
                </c:pt>
                <c:pt idx="498">
                  <c:v>-0.156897237965262</c:v>
                </c:pt>
                <c:pt idx="499">
                  <c:v>-0.16028508370771799</c:v>
                </c:pt>
                <c:pt idx="500">
                  <c:v>-0.14537771242148001</c:v>
                </c:pt>
                <c:pt idx="501">
                  <c:v>-0.13967117952501701</c:v>
                </c:pt>
                <c:pt idx="502">
                  <c:v>-0.14492015318069901</c:v>
                </c:pt>
                <c:pt idx="503">
                  <c:v>-0.15418287713158599</c:v>
                </c:pt>
                <c:pt idx="504">
                  <c:v>-0.15361927278357401</c:v>
                </c:pt>
                <c:pt idx="505">
                  <c:v>-0.14279945835788602</c:v>
                </c:pt>
                <c:pt idx="506">
                  <c:v>-0.139616550227352</c:v>
                </c:pt>
                <c:pt idx="507">
                  <c:v>-0.14037897619381001</c:v>
                </c:pt>
                <c:pt idx="508">
                  <c:v>-0.127211967864859</c:v>
                </c:pt>
                <c:pt idx="509">
                  <c:v>-0.12032328599198801</c:v>
                </c:pt>
                <c:pt idx="510">
                  <c:v>-0.11664052497086899</c:v>
                </c:pt>
                <c:pt idx="511">
                  <c:v>-0.11810660116986399</c:v>
                </c:pt>
                <c:pt idx="512">
                  <c:v>-0.107042665309641</c:v>
                </c:pt>
                <c:pt idx="513">
                  <c:v>-0.114868545437133</c:v>
                </c:pt>
                <c:pt idx="514">
                  <c:v>-0.117376310084385</c:v>
                </c:pt>
                <c:pt idx="515">
                  <c:v>-0.10968840262329101</c:v>
                </c:pt>
                <c:pt idx="516">
                  <c:v>-0.11935457482182599</c:v>
                </c:pt>
                <c:pt idx="517">
                  <c:v>-0.115184814862512</c:v>
                </c:pt>
                <c:pt idx="518">
                  <c:v>-0.10456983438784001</c:v>
                </c:pt>
                <c:pt idx="519">
                  <c:v>-9.6566383127711E-2</c:v>
                </c:pt>
                <c:pt idx="520">
                  <c:v>-9.2176136420517599E-2</c:v>
                </c:pt>
                <c:pt idx="521">
                  <c:v>-9.1900398409534997E-2</c:v>
                </c:pt>
                <c:pt idx="522">
                  <c:v>-8.8710026693741409E-2</c:v>
                </c:pt>
                <c:pt idx="523">
                  <c:v>-9.0129144502144209E-2</c:v>
                </c:pt>
                <c:pt idx="524">
                  <c:v>-0.106911534263064</c:v>
                </c:pt>
                <c:pt idx="525">
                  <c:v>-0.11514407612630301</c:v>
                </c:pt>
                <c:pt idx="526">
                  <c:v>-0.11618400233915199</c:v>
                </c:pt>
                <c:pt idx="527">
                  <c:v>-0.109000819831243</c:v>
                </c:pt>
                <c:pt idx="528">
                  <c:v>-0.12141359140534</c:v>
                </c:pt>
                <c:pt idx="529">
                  <c:v>-0.11878340322764799</c:v>
                </c:pt>
                <c:pt idx="530">
                  <c:v>-0.13061131996792399</c:v>
                </c:pt>
                <c:pt idx="531">
                  <c:v>-0.12729914668712899</c:v>
                </c:pt>
                <c:pt idx="532">
                  <c:v>-0.12238955883894899</c:v>
                </c:pt>
                <c:pt idx="533">
                  <c:v>-0.11357496098636201</c:v>
                </c:pt>
                <c:pt idx="534">
                  <c:v>-9.9622306647924E-2</c:v>
                </c:pt>
                <c:pt idx="535">
                  <c:v>-0.1046065303487</c:v>
                </c:pt>
                <c:pt idx="536">
                  <c:v>-9.6880372013149391E-2</c:v>
                </c:pt>
                <c:pt idx="537">
                  <c:v>-9.4867277211163795E-2</c:v>
                </c:pt>
                <c:pt idx="538">
                  <c:v>-8.8503326846410796E-2</c:v>
                </c:pt>
                <c:pt idx="539">
                  <c:v>-7.7003496874841204E-2</c:v>
                </c:pt>
                <c:pt idx="540">
                  <c:v>-8.0219576495418193E-2</c:v>
                </c:pt>
                <c:pt idx="541">
                  <c:v>-7.9160783997607606E-2</c:v>
                </c:pt>
                <c:pt idx="542">
                  <c:v>-7.6780003960676399E-2</c:v>
                </c:pt>
                <c:pt idx="543">
                  <c:v>-5.6346988059615695E-2</c:v>
                </c:pt>
                <c:pt idx="544">
                  <c:v>-5.1476169390424105E-2</c:v>
                </c:pt>
                <c:pt idx="545">
                  <c:v>-5.4420761097180199E-2</c:v>
                </c:pt>
                <c:pt idx="546">
                  <c:v>-6.4030541762642501E-2</c:v>
                </c:pt>
                <c:pt idx="547">
                  <c:v>-6.4614463648306003E-2</c:v>
                </c:pt>
                <c:pt idx="548">
                  <c:v>-6.2198438903203999E-2</c:v>
                </c:pt>
                <c:pt idx="549">
                  <c:v>-7.2116714426066403E-2</c:v>
                </c:pt>
                <c:pt idx="550">
                  <c:v>-7.0473585398966809E-2</c:v>
                </c:pt>
                <c:pt idx="551">
                  <c:v>-6.4384336436132492E-2</c:v>
                </c:pt>
                <c:pt idx="552">
                  <c:v>-4.7481285380180899E-2</c:v>
                </c:pt>
                <c:pt idx="553">
                  <c:v>-4.6822105676482303E-2</c:v>
                </c:pt>
                <c:pt idx="554">
                  <c:v>-4.9836668495047906E-2</c:v>
                </c:pt>
                <c:pt idx="555">
                  <c:v>-5.2810077933778905E-2</c:v>
                </c:pt>
                <c:pt idx="556">
                  <c:v>-4.8408221205070399E-2</c:v>
                </c:pt>
                <c:pt idx="557">
                  <c:v>-6.4318615421484801E-2</c:v>
                </c:pt>
                <c:pt idx="558">
                  <c:v>-8.1280856854982014E-2</c:v>
                </c:pt>
                <c:pt idx="559">
                  <c:v>-9.1390697732842807E-2</c:v>
                </c:pt>
                <c:pt idx="560">
                  <c:v>-9.5791932496112897E-2</c:v>
                </c:pt>
                <c:pt idx="561">
                  <c:v>-0.10083835274071999</c:v>
                </c:pt>
                <c:pt idx="562">
                  <c:v>-9.0215286715349702E-2</c:v>
                </c:pt>
                <c:pt idx="563">
                  <c:v>-8.5424183283167712E-2</c:v>
                </c:pt>
                <c:pt idx="564">
                  <c:v>-9.3668542489734191E-2</c:v>
                </c:pt>
                <c:pt idx="565">
                  <c:v>-0.107688265434603</c:v>
                </c:pt>
                <c:pt idx="566">
                  <c:v>-0.10761673940919801</c:v>
                </c:pt>
                <c:pt idx="567">
                  <c:v>-0.100558675615295</c:v>
                </c:pt>
                <c:pt idx="568">
                  <c:v>-0.10928215553117</c:v>
                </c:pt>
                <c:pt idx="569">
                  <c:v>-0.102371393885239</c:v>
                </c:pt>
                <c:pt idx="570">
                  <c:v>-9.4057892854114103E-2</c:v>
                </c:pt>
                <c:pt idx="571">
                  <c:v>-9.3900431937316189E-2</c:v>
                </c:pt>
                <c:pt idx="572">
                  <c:v>-8.7953613059854205E-2</c:v>
                </c:pt>
                <c:pt idx="573">
                  <c:v>-8.1840211105832394E-2</c:v>
                </c:pt>
                <c:pt idx="574">
                  <c:v>-8.2304611966434613E-2</c:v>
                </c:pt>
                <c:pt idx="575">
                  <c:v>-9.2430727606597693E-2</c:v>
                </c:pt>
                <c:pt idx="576">
                  <c:v>-9.6600383905005097E-2</c:v>
                </c:pt>
                <c:pt idx="577">
                  <c:v>-0.10989105969527201</c:v>
                </c:pt>
                <c:pt idx="578">
                  <c:v>-0.11699794777608201</c:v>
                </c:pt>
                <c:pt idx="579">
                  <c:v>-0.117093730453582</c:v>
                </c:pt>
                <c:pt idx="580">
                  <c:v>-0.125971250476344</c:v>
                </c:pt>
                <c:pt idx="581">
                  <c:v>-0.122545257520339</c:v>
                </c:pt>
                <c:pt idx="582">
                  <c:v>-0.12261699086755699</c:v>
                </c:pt>
                <c:pt idx="583">
                  <c:v>-0.121528758672333</c:v>
                </c:pt>
                <c:pt idx="584">
                  <c:v>-0.13332702839338301</c:v>
                </c:pt>
                <c:pt idx="585">
                  <c:v>-0.147965503288461</c:v>
                </c:pt>
                <c:pt idx="586">
                  <c:v>-0.13444221242426699</c:v>
                </c:pt>
                <c:pt idx="587">
                  <c:v>-0.134095881336037</c:v>
                </c:pt>
                <c:pt idx="588">
                  <c:v>-0.14499478903329599</c:v>
                </c:pt>
                <c:pt idx="589">
                  <c:v>-0.16255556854025699</c:v>
                </c:pt>
                <c:pt idx="590">
                  <c:v>-0.15498894433963101</c:v>
                </c:pt>
                <c:pt idx="591">
                  <c:v>-0.145925249329002</c:v>
                </c:pt>
                <c:pt idx="592">
                  <c:v>-0.145679469319965</c:v>
                </c:pt>
                <c:pt idx="593">
                  <c:v>-0.142056416980923</c:v>
                </c:pt>
                <c:pt idx="594">
                  <c:v>-0.14983730827504402</c:v>
                </c:pt>
                <c:pt idx="595">
                  <c:v>-0.15566470978835201</c:v>
                </c:pt>
                <c:pt idx="596">
                  <c:v>-0.153001142798804</c:v>
                </c:pt>
                <c:pt idx="597">
                  <c:v>-0.16177365432339902</c:v>
                </c:pt>
                <c:pt idx="598">
                  <c:v>-0.161424213407977</c:v>
                </c:pt>
                <c:pt idx="599">
                  <c:v>-0.15874447531703301</c:v>
                </c:pt>
                <c:pt idx="600">
                  <c:v>-0.16098334357312399</c:v>
                </c:pt>
                <c:pt idx="601">
                  <c:v>-0.155718509798765</c:v>
                </c:pt>
                <c:pt idx="602">
                  <c:v>-0.16118537867966701</c:v>
                </c:pt>
                <c:pt idx="603">
                  <c:v>-0.17559662886794999</c:v>
                </c:pt>
                <c:pt idx="604">
                  <c:v>-0.17164414216841797</c:v>
                </c:pt>
                <c:pt idx="605">
                  <c:v>-0.16963892559531801</c:v>
                </c:pt>
                <c:pt idx="606">
                  <c:v>-0.16106305881013402</c:v>
                </c:pt>
                <c:pt idx="607">
                  <c:v>-0.163028365934276</c:v>
                </c:pt>
                <c:pt idx="608">
                  <c:v>-0.16616618157053298</c:v>
                </c:pt>
                <c:pt idx="609">
                  <c:v>-0.18139148085665202</c:v>
                </c:pt>
                <c:pt idx="610">
                  <c:v>-0.18482535204154299</c:v>
                </c:pt>
                <c:pt idx="611">
                  <c:v>-0.16828863862875401</c:v>
                </c:pt>
                <c:pt idx="612">
                  <c:v>-0.17007606363754099</c:v>
                </c:pt>
                <c:pt idx="613">
                  <c:v>-0.15966643541841599</c:v>
                </c:pt>
                <c:pt idx="614">
                  <c:v>-0.15267315969100301</c:v>
                </c:pt>
                <c:pt idx="615">
                  <c:v>-0.145946707136624</c:v>
                </c:pt>
                <c:pt idx="616">
                  <c:v>-0.147710393797849</c:v>
                </c:pt>
                <c:pt idx="617">
                  <c:v>-0.149721104398987</c:v>
                </c:pt>
                <c:pt idx="618">
                  <c:v>-0.15596978383584101</c:v>
                </c:pt>
                <c:pt idx="619">
                  <c:v>-0.169125700447808</c:v>
                </c:pt>
                <c:pt idx="620">
                  <c:v>-0.16376694989226501</c:v>
                </c:pt>
                <c:pt idx="621">
                  <c:v>-0.169415329020246</c:v>
                </c:pt>
                <c:pt idx="622">
                  <c:v>-0.17045681014669101</c:v>
                </c:pt>
                <c:pt idx="623">
                  <c:v>-0.17028224518033899</c:v>
                </c:pt>
                <c:pt idx="624">
                  <c:v>-0.17131180530254897</c:v>
                </c:pt>
                <c:pt idx="625">
                  <c:v>-0.160030803504357</c:v>
                </c:pt>
                <c:pt idx="626">
                  <c:v>-0.15423263436665099</c:v>
                </c:pt>
                <c:pt idx="627">
                  <c:v>-0.160913890765846</c:v>
                </c:pt>
                <c:pt idx="628">
                  <c:v>-0.16988397997800997</c:v>
                </c:pt>
                <c:pt idx="629">
                  <c:v>-0.18010546365204699</c:v>
                </c:pt>
                <c:pt idx="630">
                  <c:v>-0.182458047922442</c:v>
                </c:pt>
                <c:pt idx="631">
                  <c:v>-0.18064750653153103</c:v>
                </c:pt>
                <c:pt idx="632">
                  <c:v>-0.17619506328050702</c:v>
                </c:pt>
                <c:pt idx="633">
                  <c:v>-0.18423199701339901</c:v>
                </c:pt>
                <c:pt idx="634">
                  <c:v>-0.17923678525654602</c:v>
                </c:pt>
                <c:pt idx="635">
                  <c:v>-0.19444591344126899</c:v>
                </c:pt>
                <c:pt idx="636">
                  <c:v>-0.19928117641957102</c:v>
                </c:pt>
                <c:pt idx="637">
                  <c:v>-0.194122595074256</c:v>
                </c:pt>
                <c:pt idx="638">
                  <c:v>-0.20406771877187199</c:v>
                </c:pt>
                <c:pt idx="639">
                  <c:v>-0.18933315021657598</c:v>
                </c:pt>
                <c:pt idx="640">
                  <c:v>-0.20236736892444798</c:v>
                </c:pt>
                <c:pt idx="641">
                  <c:v>-0.203316488183304</c:v>
                </c:pt>
                <c:pt idx="642">
                  <c:v>-0.19039163173166798</c:v>
                </c:pt>
                <c:pt idx="643">
                  <c:v>-0.17418912108106199</c:v>
                </c:pt>
                <c:pt idx="644">
                  <c:v>-0.17662245719753</c:v>
                </c:pt>
                <c:pt idx="645">
                  <c:v>-0.16150683115036502</c:v>
                </c:pt>
                <c:pt idx="646">
                  <c:v>-0.15983840886210798</c:v>
                </c:pt>
                <c:pt idx="647">
                  <c:v>-0.17711888927820499</c:v>
                </c:pt>
                <c:pt idx="648">
                  <c:v>-0.174873075741387</c:v>
                </c:pt>
                <c:pt idx="649">
                  <c:v>-0.18044059936238799</c:v>
                </c:pt>
                <c:pt idx="650">
                  <c:v>-0.18147492788629202</c:v>
                </c:pt>
                <c:pt idx="651">
                  <c:v>-0.18763819073628502</c:v>
                </c:pt>
                <c:pt idx="652">
                  <c:v>-0.17071772464805998</c:v>
                </c:pt>
                <c:pt idx="653">
                  <c:v>-0.18172786049786999</c:v>
                </c:pt>
                <c:pt idx="654">
                  <c:v>-0.17681733970153299</c:v>
                </c:pt>
                <c:pt idx="655">
                  <c:v>-0.16506457711838501</c:v>
                </c:pt>
                <c:pt idx="656">
                  <c:v>-0.15523037059060099</c:v>
                </c:pt>
                <c:pt idx="657">
                  <c:v>-0.14811011025286699</c:v>
                </c:pt>
                <c:pt idx="658">
                  <c:v>-0.147536450796936</c:v>
                </c:pt>
                <c:pt idx="659">
                  <c:v>-0.153344467720749</c:v>
                </c:pt>
                <c:pt idx="660">
                  <c:v>-0.16083707803421599</c:v>
                </c:pt>
                <c:pt idx="661">
                  <c:v>-0.150876301539736</c:v>
                </c:pt>
                <c:pt idx="662">
                  <c:v>-0.152016675170871</c:v>
                </c:pt>
                <c:pt idx="663">
                  <c:v>-0.14029915729589398</c:v>
                </c:pt>
                <c:pt idx="664">
                  <c:v>-0.149726080122494</c:v>
                </c:pt>
                <c:pt idx="665">
                  <c:v>-0.13546959566744302</c:v>
                </c:pt>
                <c:pt idx="666">
                  <c:v>-0.123896892078685</c:v>
                </c:pt>
                <c:pt idx="667">
                  <c:v>-0.13937895942991901</c:v>
                </c:pt>
                <c:pt idx="668">
                  <c:v>-0.153938237392519</c:v>
                </c:pt>
                <c:pt idx="669">
                  <c:v>-0.159798188430431</c:v>
                </c:pt>
                <c:pt idx="670">
                  <c:v>-0.14720660179282</c:v>
                </c:pt>
                <c:pt idx="671">
                  <c:v>-0.15304716824123799</c:v>
                </c:pt>
                <c:pt idx="672">
                  <c:v>-0.16385091522643599</c:v>
                </c:pt>
                <c:pt idx="673">
                  <c:v>-0.16064986643728499</c:v>
                </c:pt>
                <c:pt idx="674">
                  <c:v>-0.16005547480007698</c:v>
                </c:pt>
                <c:pt idx="675">
                  <c:v>-0.17409012491546499</c:v>
                </c:pt>
                <c:pt idx="676">
                  <c:v>-0.187402776817886</c:v>
                </c:pt>
                <c:pt idx="677">
                  <c:v>-0.18383093296659697</c:v>
                </c:pt>
                <c:pt idx="678">
                  <c:v>-0.18085068190804499</c:v>
                </c:pt>
                <c:pt idx="679">
                  <c:v>-0.17761853484697798</c:v>
                </c:pt>
                <c:pt idx="680">
                  <c:v>-0.180113341880932</c:v>
                </c:pt>
                <c:pt idx="681">
                  <c:v>-0.187322024971812</c:v>
                </c:pt>
                <c:pt idx="682">
                  <c:v>-0.19764499267319899</c:v>
                </c:pt>
                <c:pt idx="683">
                  <c:v>-0.201338016124051</c:v>
                </c:pt>
                <c:pt idx="684">
                  <c:v>-0.212070859049282</c:v>
                </c:pt>
                <c:pt idx="685">
                  <c:v>-0.22777424243564698</c:v>
                </c:pt>
                <c:pt idx="686">
                  <c:v>-0.224256094933866</c:v>
                </c:pt>
                <c:pt idx="687">
                  <c:v>-0.23503558526696999</c:v>
                </c:pt>
                <c:pt idx="688">
                  <c:v>-0.235479668589921</c:v>
                </c:pt>
                <c:pt idx="689">
                  <c:v>-0.23259706610518202</c:v>
                </c:pt>
                <c:pt idx="690">
                  <c:v>-0.24529345391914797</c:v>
                </c:pt>
                <c:pt idx="691">
                  <c:v>-0.239974301829843</c:v>
                </c:pt>
                <c:pt idx="692">
                  <c:v>-0.23438065566043298</c:v>
                </c:pt>
                <c:pt idx="693">
                  <c:v>-0.23831220285687502</c:v>
                </c:pt>
                <c:pt idx="694">
                  <c:v>-0.23124076680604802</c:v>
                </c:pt>
                <c:pt idx="695">
                  <c:v>-0.241228080492563</c:v>
                </c:pt>
                <c:pt idx="696">
                  <c:v>-0.23661112738310699</c:v>
                </c:pt>
                <c:pt idx="697">
                  <c:v>-0.23300839258171599</c:v>
                </c:pt>
                <c:pt idx="698">
                  <c:v>-0.228898444965386</c:v>
                </c:pt>
                <c:pt idx="699">
                  <c:v>-0.20726659068198899</c:v>
                </c:pt>
                <c:pt idx="700">
                  <c:v>-0.205396236948095</c:v>
                </c:pt>
                <c:pt idx="701">
                  <c:v>-0.213563990744843</c:v>
                </c:pt>
                <c:pt idx="702">
                  <c:v>-0.21292471393517101</c:v>
                </c:pt>
                <c:pt idx="703">
                  <c:v>-0.213670035852075</c:v>
                </c:pt>
                <c:pt idx="704">
                  <c:v>-0.22704094518388299</c:v>
                </c:pt>
                <c:pt idx="705">
                  <c:v>-0.22229773309045101</c:v>
                </c:pt>
                <c:pt idx="706">
                  <c:v>-0.21087948425220598</c:v>
                </c:pt>
                <c:pt idx="707">
                  <c:v>-0.206611764736359</c:v>
                </c:pt>
                <c:pt idx="708">
                  <c:v>-0.208148330351695</c:v>
                </c:pt>
                <c:pt idx="709">
                  <c:v>-0.212414909597572</c:v>
                </c:pt>
                <c:pt idx="710">
                  <c:v>-0.23470677287191802</c:v>
                </c:pt>
                <c:pt idx="711">
                  <c:v>-0.239569195007693</c:v>
                </c:pt>
                <c:pt idx="712">
                  <c:v>-0.22748212600145501</c:v>
                </c:pt>
                <c:pt idx="713">
                  <c:v>-0.22373913799372599</c:v>
                </c:pt>
                <c:pt idx="714">
                  <c:v>-0.22796829565239801</c:v>
                </c:pt>
                <c:pt idx="715">
                  <c:v>-0.23730990555304399</c:v>
                </c:pt>
                <c:pt idx="716">
                  <c:v>-0.23022416429713602</c:v>
                </c:pt>
                <c:pt idx="717">
                  <c:v>-0.22976411719460199</c:v>
                </c:pt>
                <c:pt idx="718">
                  <c:v>-0.222507853747692</c:v>
                </c:pt>
                <c:pt idx="719">
                  <c:v>-0.20942024967303202</c:v>
                </c:pt>
                <c:pt idx="720">
                  <c:v>-0.217940450551488</c:v>
                </c:pt>
                <c:pt idx="721">
                  <c:v>-0.21243201364712599</c:v>
                </c:pt>
                <c:pt idx="722">
                  <c:v>-0.230223645992604</c:v>
                </c:pt>
                <c:pt idx="723">
                  <c:v>-0.27130259729643902</c:v>
                </c:pt>
                <c:pt idx="724">
                  <c:v>-0.25761552220015799</c:v>
                </c:pt>
                <c:pt idx="725">
                  <c:v>-0.26984502129176802</c:v>
                </c:pt>
                <c:pt idx="726">
                  <c:v>-0.28171087792378097</c:v>
                </c:pt>
                <c:pt idx="727">
                  <c:v>-0.30422820366951397</c:v>
                </c:pt>
                <c:pt idx="728">
                  <c:v>-0.29470031512009498</c:v>
                </c:pt>
                <c:pt idx="729">
                  <c:v>-0.28156202086221299</c:v>
                </c:pt>
                <c:pt idx="730">
                  <c:v>-0.287016761417068</c:v>
                </c:pt>
                <c:pt idx="731">
                  <c:v>-0.28130867360700901</c:v>
                </c:pt>
                <c:pt idx="732">
                  <c:v>-0.28178893458628801</c:v>
                </c:pt>
                <c:pt idx="733">
                  <c:v>-0.27422282869019499</c:v>
                </c:pt>
                <c:pt idx="734">
                  <c:v>-0.27624711887006997</c:v>
                </c:pt>
                <c:pt idx="735">
                  <c:v>-0.28609086220124202</c:v>
                </c:pt>
                <c:pt idx="736">
                  <c:v>-0.28305650014955697</c:v>
                </c:pt>
                <c:pt idx="737">
                  <c:v>-0.297068966830979</c:v>
                </c:pt>
                <c:pt idx="738">
                  <c:v>-0.29419973660316401</c:v>
                </c:pt>
                <c:pt idx="739">
                  <c:v>-0.28645460832174502</c:v>
                </c:pt>
                <c:pt idx="740">
                  <c:v>-0.29165931877040102</c:v>
                </c:pt>
                <c:pt idx="741">
                  <c:v>-0.30883333943564201</c:v>
                </c:pt>
                <c:pt idx="742">
                  <c:v>-0.29862989275931601</c:v>
                </c:pt>
                <c:pt idx="743">
                  <c:v>-0.30808273081251203</c:v>
                </c:pt>
                <c:pt idx="744">
                  <c:v>-0.30480331437813402</c:v>
                </c:pt>
                <c:pt idx="745">
                  <c:v>-0.29595481940915902</c:v>
                </c:pt>
                <c:pt idx="746">
                  <c:v>-0.292404951670024</c:v>
                </c:pt>
                <c:pt idx="747">
                  <c:v>-0.27087437409216497</c:v>
                </c:pt>
                <c:pt idx="748">
                  <c:v>-0.26711127586859801</c:v>
                </c:pt>
                <c:pt idx="749">
                  <c:v>-0.263020090876323</c:v>
                </c:pt>
                <c:pt idx="750">
                  <c:v>-0.28436801793713301</c:v>
                </c:pt>
                <c:pt idx="751">
                  <c:v>-0.299203448554341</c:v>
                </c:pt>
                <c:pt idx="752">
                  <c:v>-0.29485051977344601</c:v>
                </c:pt>
                <c:pt idx="753">
                  <c:v>-0.27660682221522398</c:v>
                </c:pt>
                <c:pt idx="754">
                  <c:v>-0.28391190994904197</c:v>
                </c:pt>
                <c:pt idx="755">
                  <c:v>-0.283897501083054</c:v>
                </c:pt>
                <c:pt idx="756">
                  <c:v>-0.280549772111369</c:v>
                </c:pt>
                <c:pt idx="757">
                  <c:v>-0.26626467724615599</c:v>
                </c:pt>
                <c:pt idx="758">
                  <c:v>-0.25419212076681302</c:v>
                </c:pt>
                <c:pt idx="759">
                  <c:v>-0.24506498528147599</c:v>
                </c:pt>
                <c:pt idx="760">
                  <c:v>-0.23786967444752002</c:v>
                </c:pt>
                <c:pt idx="761">
                  <c:v>-0.24294719296404199</c:v>
                </c:pt>
                <c:pt idx="762">
                  <c:v>-0.23506689086069801</c:v>
                </c:pt>
                <c:pt idx="763">
                  <c:v>-0.22224300013188</c:v>
                </c:pt>
                <c:pt idx="764">
                  <c:v>-0.222324373943392</c:v>
                </c:pt>
                <c:pt idx="765">
                  <c:v>-0.19336638876218198</c:v>
                </c:pt>
                <c:pt idx="766">
                  <c:v>-0.20338055062344998</c:v>
                </c:pt>
                <c:pt idx="767">
                  <c:v>-0.216921463841729</c:v>
                </c:pt>
                <c:pt idx="768">
                  <c:v>-0.22019745946619601</c:v>
                </c:pt>
                <c:pt idx="769">
                  <c:v>-0.22952735568442001</c:v>
                </c:pt>
                <c:pt idx="770">
                  <c:v>-0.22133192442566699</c:v>
                </c:pt>
                <c:pt idx="771">
                  <c:v>-0.21969076495578899</c:v>
                </c:pt>
                <c:pt idx="772">
                  <c:v>-0.20357667705832899</c:v>
                </c:pt>
                <c:pt idx="773">
                  <c:v>-0.19788714455051298</c:v>
                </c:pt>
                <c:pt idx="774">
                  <c:v>-0.189624541024423</c:v>
                </c:pt>
                <c:pt idx="775">
                  <c:v>-0.18478409500080201</c:v>
                </c:pt>
                <c:pt idx="776">
                  <c:v>-0.164506052154786</c:v>
                </c:pt>
                <c:pt idx="777">
                  <c:v>-0.17855137934353199</c:v>
                </c:pt>
                <c:pt idx="778">
                  <c:v>-0.17841392498166597</c:v>
                </c:pt>
                <c:pt idx="779">
                  <c:v>-0.17724193477408398</c:v>
                </c:pt>
                <c:pt idx="780">
                  <c:v>-0.163262017617266</c:v>
                </c:pt>
                <c:pt idx="781">
                  <c:v>-0.15294734278839001</c:v>
                </c:pt>
                <c:pt idx="782">
                  <c:v>-0.15283880981940601</c:v>
                </c:pt>
                <c:pt idx="783">
                  <c:v>-0.14261711882355599</c:v>
                </c:pt>
                <c:pt idx="784">
                  <c:v>-0.145432963684583</c:v>
                </c:pt>
                <c:pt idx="785">
                  <c:v>-0.14490408574020899</c:v>
                </c:pt>
                <c:pt idx="786">
                  <c:v>-0.153426670819512</c:v>
                </c:pt>
                <c:pt idx="787">
                  <c:v>-0.15584943352352901</c:v>
                </c:pt>
                <c:pt idx="788">
                  <c:v>-0.178638972809427</c:v>
                </c:pt>
                <c:pt idx="789">
                  <c:v>-0.17131004306714101</c:v>
                </c:pt>
                <c:pt idx="790">
                  <c:v>-0.168986483850534</c:v>
                </c:pt>
                <c:pt idx="791">
                  <c:v>-0.16785367746556498</c:v>
                </c:pt>
                <c:pt idx="792">
                  <c:v>-0.179475827306668</c:v>
                </c:pt>
                <c:pt idx="793">
                  <c:v>-0.19174316262910801</c:v>
                </c:pt>
                <c:pt idx="794">
                  <c:v>-0.18479300983875099</c:v>
                </c:pt>
                <c:pt idx="795">
                  <c:v>-0.18834287757788601</c:v>
                </c:pt>
                <c:pt idx="796">
                  <c:v>-0.19769164008107201</c:v>
                </c:pt>
                <c:pt idx="797">
                  <c:v>-0.21019397467828602</c:v>
                </c:pt>
                <c:pt idx="798">
                  <c:v>-0.221787928752852</c:v>
                </c:pt>
                <c:pt idx="799">
                  <c:v>-0.21201560778617901</c:v>
                </c:pt>
                <c:pt idx="800">
                  <c:v>-0.20776519964169801</c:v>
                </c:pt>
                <c:pt idx="801">
                  <c:v>-0.20225157969201699</c:v>
                </c:pt>
                <c:pt idx="802">
                  <c:v>-0.20471248960958299</c:v>
                </c:pt>
                <c:pt idx="803">
                  <c:v>-0.213592601155006</c:v>
                </c:pt>
                <c:pt idx="804">
                  <c:v>-0.22957400309229301</c:v>
                </c:pt>
                <c:pt idx="805">
                  <c:v>-0.23661268229670199</c:v>
                </c:pt>
                <c:pt idx="806">
                  <c:v>-0.247141105914544</c:v>
                </c:pt>
                <c:pt idx="807">
                  <c:v>-0.241660864776718</c:v>
                </c:pt>
                <c:pt idx="808">
                  <c:v>-0.23986535421723298</c:v>
                </c:pt>
                <c:pt idx="809">
                  <c:v>-0.23600398545441301</c:v>
                </c:pt>
                <c:pt idx="810">
                  <c:v>-0.21780030100605599</c:v>
                </c:pt>
                <c:pt idx="811">
                  <c:v>-0.220394726171046</c:v>
                </c:pt>
                <c:pt idx="812">
                  <c:v>-0.24208297198751499</c:v>
                </c:pt>
                <c:pt idx="813">
                  <c:v>-0.24405221822609999</c:v>
                </c:pt>
                <c:pt idx="814">
                  <c:v>-0.23661247497489002</c:v>
                </c:pt>
                <c:pt idx="815">
                  <c:v>-0.234228377788954</c:v>
                </c:pt>
                <c:pt idx="816">
                  <c:v>-0.220536534290979</c:v>
                </c:pt>
                <c:pt idx="817">
                  <c:v>-0.20953852676721699</c:v>
                </c:pt>
                <c:pt idx="818">
                  <c:v>-0.194514536961296</c:v>
                </c:pt>
                <c:pt idx="819">
                  <c:v>-0.19772014683032801</c:v>
                </c:pt>
                <c:pt idx="820">
                  <c:v>-0.223219278548208</c:v>
                </c:pt>
                <c:pt idx="821">
                  <c:v>-0.224483941606099</c:v>
                </c:pt>
                <c:pt idx="822">
                  <c:v>-0.21467927843663401</c:v>
                </c:pt>
                <c:pt idx="823">
                  <c:v>-0.22819261785381401</c:v>
                </c:pt>
                <c:pt idx="824">
                  <c:v>-0.23248552696991301</c:v>
                </c:pt>
                <c:pt idx="825">
                  <c:v>-0.237023386807798</c:v>
                </c:pt>
                <c:pt idx="826">
                  <c:v>-0.21011757659027999</c:v>
                </c:pt>
                <c:pt idx="827">
                  <c:v>-0.22102011241926298</c:v>
                </c:pt>
                <c:pt idx="828">
                  <c:v>-0.21949971790532199</c:v>
                </c:pt>
                <c:pt idx="829">
                  <c:v>-0.1830954588358</c:v>
                </c:pt>
                <c:pt idx="830">
                  <c:v>-0.164760125036334</c:v>
                </c:pt>
                <c:pt idx="831">
                  <c:v>-0.145276095535251</c:v>
                </c:pt>
                <c:pt idx="832">
                  <c:v>-0.14238700836538398</c:v>
                </c:pt>
                <c:pt idx="833">
                  <c:v>-0.143846225760251</c:v>
                </c:pt>
                <c:pt idx="834">
                  <c:v>-0.13731514029956199</c:v>
                </c:pt>
                <c:pt idx="835">
                  <c:v>-0.15401589940100299</c:v>
                </c:pt>
                <c:pt idx="836">
                  <c:v>-0.14317980744855199</c:v>
                </c:pt>
                <c:pt idx="837">
                  <c:v>-0.146645100000034</c:v>
                </c:pt>
                <c:pt idx="838">
                  <c:v>-0.17121928816101101</c:v>
                </c:pt>
                <c:pt idx="839">
                  <c:v>-0.18592699252873601</c:v>
                </c:pt>
                <c:pt idx="840">
                  <c:v>-0.19203274417473298</c:v>
                </c:pt>
                <c:pt idx="841">
                  <c:v>-0.18118745525690103</c:v>
                </c:pt>
                <c:pt idx="842">
                  <c:v>-0.19452811855694702</c:v>
                </c:pt>
                <c:pt idx="843">
                  <c:v>-0.19782032215322701</c:v>
                </c:pt>
                <c:pt idx="844">
                  <c:v>-0.19613500408135701</c:v>
                </c:pt>
                <c:pt idx="845">
                  <c:v>-0.170119269099446</c:v>
                </c:pt>
                <c:pt idx="846">
                  <c:v>-0.19850461771224001</c:v>
                </c:pt>
                <c:pt idx="847">
                  <c:v>-0.19563413114651301</c:v>
                </c:pt>
                <c:pt idx="848">
                  <c:v>-0.22410256245780399</c:v>
                </c:pt>
                <c:pt idx="849">
                  <c:v>-0.218979542730594</c:v>
                </c:pt>
                <c:pt idx="850">
                  <c:v>-0.21144712474697702</c:v>
                </c:pt>
                <c:pt idx="851">
                  <c:v>-0.20960545826363097</c:v>
                </c:pt>
                <c:pt idx="852">
                  <c:v>-0.17672021016235401</c:v>
                </c:pt>
                <c:pt idx="853">
                  <c:v>-0.16389437025025699</c:v>
                </c:pt>
                <c:pt idx="854">
                  <c:v>-0.14223985691929</c:v>
                </c:pt>
                <c:pt idx="855">
                  <c:v>-0.16619939845009502</c:v>
                </c:pt>
                <c:pt idx="856">
                  <c:v>-0.17424343638428097</c:v>
                </c:pt>
                <c:pt idx="857">
                  <c:v>-0.17297415182503201</c:v>
                </c:pt>
                <c:pt idx="858">
                  <c:v>-0.16220171527342001</c:v>
                </c:pt>
                <c:pt idx="859">
                  <c:v>-0.18707030966327401</c:v>
                </c:pt>
                <c:pt idx="860">
                  <c:v>-0.19324829365535201</c:v>
                </c:pt>
                <c:pt idx="861">
                  <c:v>-0.17327207150135798</c:v>
                </c:pt>
                <c:pt idx="862">
                  <c:v>-0.16533767379491501</c:v>
                </c:pt>
                <c:pt idx="863">
                  <c:v>-0.14290017836629801</c:v>
                </c:pt>
                <c:pt idx="864">
                  <c:v>-0.12184005767432801</c:v>
                </c:pt>
                <c:pt idx="865">
                  <c:v>-0.12181422350191</c:v>
                </c:pt>
                <c:pt idx="866">
                  <c:v>-0.13413102688067899</c:v>
                </c:pt>
                <c:pt idx="867">
                  <c:v>-0.13706671889758901</c:v>
                </c:pt>
                <c:pt idx="868">
                  <c:v>-0.12586595176728399</c:v>
                </c:pt>
                <c:pt idx="869">
                  <c:v>-0.139456689856337</c:v>
                </c:pt>
                <c:pt idx="870">
                  <c:v>-0.13705349180131099</c:v>
                </c:pt>
                <c:pt idx="871">
                  <c:v>-0.116794643801062</c:v>
                </c:pt>
                <c:pt idx="872">
                  <c:v>-0.11460039253255401</c:v>
                </c:pt>
                <c:pt idx="873">
                  <c:v>-0.11344725841249699</c:v>
                </c:pt>
                <c:pt idx="874">
                  <c:v>-9.3004781114699911E-2</c:v>
                </c:pt>
                <c:pt idx="875">
                  <c:v>-7.4919517045025197E-2</c:v>
                </c:pt>
                <c:pt idx="876">
                  <c:v>-8.2000043684703594E-2</c:v>
                </c:pt>
                <c:pt idx="877">
                  <c:v>-8.7177935194129696E-2</c:v>
                </c:pt>
                <c:pt idx="878">
                  <c:v>-7.3357272970554499E-2</c:v>
                </c:pt>
                <c:pt idx="879">
                  <c:v>-7.2169314386078001E-2</c:v>
                </c:pt>
                <c:pt idx="880">
                  <c:v>-9.0514573566969098E-2</c:v>
                </c:pt>
                <c:pt idx="881">
                  <c:v>-9.9220793008577196E-2</c:v>
                </c:pt>
                <c:pt idx="882">
                  <c:v>-9.6805917907617708E-2</c:v>
                </c:pt>
                <c:pt idx="883">
                  <c:v>-0.106631893718518</c:v>
                </c:pt>
                <c:pt idx="884">
                  <c:v>-9.8896419139694811E-2</c:v>
                </c:pt>
                <c:pt idx="885">
                  <c:v>-0.109185756667088</c:v>
                </c:pt>
                <c:pt idx="886">
                  <c:v>-0.10608544930353001</c:v>
                </c:pt>
                <c:pt idx="887">
                  <c:v>-0.118025383775063</c:v>
                </c:pt>
                <c:pt idx="888">
                  <c:v>-0.13294079488902999</c:v>
                </c:pt>
                <c:pt idx="889">
                  <c:v>-0.17343327673724701</c:v>
                </c:pt>
                <c:pt idx="890">
                  <c:v>-0.17709253225524399</c:v>
                </c:pt>
                <c:pt idx="891">
                  <c:v>-0.16044044473463898</c:v>
                </c:pt>
                <c:pt idx="892">
                  <c:v>-0.14870253349141599</c:v>
                </c:pt>
                <c:pt idx="893">
                  <c:v>-0.14592174317232598</c:v>
                </c:pt>
                <c:pt idx="894">
                  <c:v>-0.17548719678118002</c:v>
                </c:pt>
                <c:pt idx="895">
                  <c:v>-0.17777651780418802</c:v>
                </c:pt>
                <c:pt idx="896">
                  <c:v>-0.14681942899551198</c:v>
                </c:pt>
                <c:pt idx="897">
                  <c:v>-0.130086635520272</c:v>
                </c:pt>
                <c:pt idx="898">
                  <c:v>-0.129588346002671</c:v>
                </c:pt>
                <c:pt idx="899">
                  <c:v>-0.137257989413856</c:v>
                </c:pt>
                <c:pt idx="900">
                  <c:v>-0.121908157559512</c:v>
                </c:pt>
                <c:pt idx="901">
                  <c:v>-0.120660218931918</c:v>
                </c:pt>
                <c:pt idx="902">
                  <c:v>-0.142938356480906</c:v>
                </c:pt>
                <c:pt idx="903">
                  <c:v>-0.14714780143176001</c:v>
                </c:pt>
                <c:pt idx="904">
                  <c:v>-0.13962809519394501</c:v>
                </c:pt>
                <c:pt idx="905">
                  <c:v>-0.12621415545937101</c:v>
                </c:pt>
                <c:pt idx="906">
                  <c:v>-0.11133379721600599</c:v>
                </c:pt>
                <c:pt idx="907">
                  <c:v>-8.3089917672189997E-2</c:v>
                </c:pt>
                <c:pt idx="908">
                  <c:v>-8.836177459435661E-2</c:v>
                </c:pt>
                <c:pt idx="909">
                  <c:v>-0.10669824102665199</c:v>
                </c:pt>
                <c:pt idx="910">
                  <c:v>-9.8134055273810097E-2</c:v>
                </c:pt>
                <c:pt idx="911">
                  <c:v>-7.9989607799086093E-2</c:v>
                </c:pt>
                <c:pt idx="912">
                  <c:v>-7.5816029592236198E-2</c:v>
                </c:pt>
                <c:pt idx="913">
                  <c:v>-0.10007796965074001</c:v>
                </c:pt>
                <c:pt idx="914">
                  <c:v>-0.10484735591949</c:v>
                </c:pt>
                <c:pt idx="915">
                  <c:v>-0.10863570446305801</c:v>
                </c:pt>
                <c:pt idx="916">
                  <c:v>-0.120311413926741</c:v>
                </c:pt>
                <c:pt idx="917">
                  <c:v>-9.7293036629578694E-2</c:v>
                </c:pt>
                <c:pt idx="918">
                  <c:v>-0.101318289786223</c:v>
                </c:pt>
                <c:pt idx="919">
                  <c:v>-0.11336629578697301</c:v>
                </c:pt>
                <c:pt idx="920">
                  <c:v>-0.137767970996375</c:v>
                </c:pt>
                <c:pt idx="921">
                  <c:v>-0.14810951368921099</c:v>
                </c:pt>
                <c:pt idx="922">
                  <c:v>-0.13938054756844601</c:v>
                </c:pt>
                <c:pt idx="923">
                  <c:v>-0.14111638954869402</c:v>
                </c:pt>
                <c:pt idx="924">
                  <c:v>-0.124422177772222</c:v>
                </c:pt>
                <c:pt idx="925">
                  <c:v>-0.110029253656707</c:v>
                </c:pt>
                <c:pt idx="926">
                  <c:v>-8.2687085885735701E-2</c:v>
                </c:pt>
                <c:pt idx="927">
                  <c:v>-8.1336167020877606E-2</c:v>
                </c:pt>
                <c:pt idx="928">
                  <c:v>-8.1172646580822599E-2</c:v>
                </c:pt>
                <c:pt idx="929">
                  <c:v>-6.2297287160895103E-2</c:v>
                </c:pt>
                <c:pt idx="930">
                  <c:v>-5.5172271533941705E-2</c:v>
                </c:pt>
                <c:pt idx="931">
                  <c:v>-4.1418927365920705E-2</c:v>
                </c:pt>
                <c:pt idx="932">
                  <c:v>-6.5219277409676202E-2</c:v>
                </c:pt>
                <c:pt idx="933">
                  <c:v>-9.0459557444680594E-2</c:v>
                </c:pt>
                <c:pt idx="934">
                  <c:v>-8.5730466308288497E-2</c:v>
                </c:pt>
                <c:pt idx="935">
                  <c:v>-7.8934866858357294E-2</c:v>
                </c:pt>
                <c:pt idx="936">
                  <c:v>-7.3576822102762798E-2</c:v>
                </c:pt>
                <c:pt idx="937">
                  <c:v>-5.0874109263658006E-2</c:v>
                </c:pt>
                <c:pt idx="938">
                  <c:v>-4.7924490561320206E-2</c:v>
                </c:pt>
                <c:pt idx="939">
                  <c:v>-5.3419177397174604E-2</c:v>
                </c:pt>
                <c:pt idx="940">
                  <c:v>-5.3422177772221503E-2</c:v>
                </c:pt>
                <c:pt idx="941">
                  <c:v>-5.2422177772221495E-2</c:v>
                </c:pt>
                <c:pt idx="942">
                  <c:v>-4.8598074759344898E-2</c:v>
                </c:pt>
                <c:pt idx="943">
                  <c:v>-4.0905488186023298E-2</c:v>
                </c:pt>
                <c:pt idx="944">
                  <c:v>-4.8809351168896099E-2</c:v>
                </c:pt>
                <c:pt idx="945">
                  <c:v>-5.9377172146518296E-2</c:v>
                </c:pt>
                <c:pt idx="946">
                  <c:v>-7.0743967995999496E-2</c:v>
                </c:pt>
                <c:pt idx="947">
                  <c:v>-9.3816227028378593E-2</c:v>
                </c:pt>
                <c:pt idx="948">
                  <c:v>-7.50661332666583E-2</c:v>
                </c:pt>
                <c:pt idx="949">
                  <c:v>-6.2933241655206903E-2</c:v>
                </c:pt>
                <c:pt idx="950">
                  <c:v>-5.7024878109763699E-2</c:v>
                </c:pt>
                <c:pt idx="951">
                  <c:v>-6.63435429428679E-2</c:v>
                </c:pt>
                <c:pt idx="952">
                  <c:v>-4.8297787223402902E-2</c:v>
                </c:pt>
                <c:pt idx="953">
                  <c:v>-3.67653456682085E-2</c:v>
                </c:pt>
                <c:pt idx="954">
                  <c:v>-3.2457307163395399E-2</c:v>
                </c:pt>
                <c:pt idx="955">
                  <c:v>-2.2119639954994399E-2</c:v>
                </c:pt>
                <c:pt idx="956">
                  <c:v>-3.07317164645581E-2</c:v>
                </c:pt>
                <c:pt idx="957">
                  <c:v>-6.3677584698087306E-2</c:v>
                </c:pt>
                <c:pt idx="958">
                  <c:v>-6.6308163520440097E-2</c:v>
                </c:pt>
                <c:pt idx="959">
                  <c:v>-4.6715589448681101E-2</c:v>
                </c:pt>
                <c:pt idx="960">
                  <c:v>-5.74165520690086E-2</c:v>
                </c:pt>
                <c:pt idx="961">
                  <c:v>-5.1171521440180001E-2</c:v>
                </c:pt>
                <c:pt idx="962">
                  <c:v>-3.1664333041630202E-2</c:v>
                </c:pt>
                <c:pt idx="963">
                  <c:v>-4.3168896112014001E-2</c:v>
                </c:pt>
                <c:pt idx="964">
                  <c:v>-1.3807975996999599E-2</c:v>
                </c:pt>
                <c:pt idx="965">
                  <c:v>4.5910738842355296E-3</c:v>
                </c:pt>
                <c:pt idx="966">
                  <c:v>1.1686210776347E-2</c:v>
                </c:pt>
                <c:pt idx="967">
                  <c:v>1.57919739967496E-2</c:v>
                </c:pt>
                <c:pt idx="968">
                  <c:v>2.0140017502187798E-2</c:v>
                </c:pt>
                <c:pt idx="969">
                  <c:v>2.3593199149893704E-2</c:v>
                </c:pt>
                <c:pt idx="970">
                  <c:v>2.5503812976622096E-2</c:v>
                </c:pt>
                <c:pt idx="971">
                  <c:v>1.9713589198649798E-2</c:v>
                </c:pt>
                <c:pt idx="972">
                  <c:v>2.63301662707838E-2</c:v>
                </c:pt>
                <c:pt idx="973">
                  <c:v>1.9417552194024298E-2</c:v>
                </c:pt>
                <c:pt idx="974">
                  <c:v>1.0155019377422201E-2</c:v>
                </c:pt>
                <c:pt idx="975">
                  <c:v>2.7270533816727102E-2</c:v>
                </c:pt>
                <c:pt idx="976">
                  <c:v>2.8414676834604302E-2</c:v>
                </c:pt>
                <c:pt idx="977">
                  <c:v>2.28597324665583E-2</c:v>
                </c:pt>
                <c:pt idx="978">
                  <c:v>2.2175021877734701E-2</c:v>
                </c:pt>
                <c:pt idx="979">
                  <c:v>3.23590448806101E-3</c:v>
                </c:pt>
                <c:pt idx="980">
                  <c:v>5.4858107263407894E-3</c:v>
                </c:pt>
                <c:pt idx="981">
                  <c:v>3.6755844480560102E-3</c:v>
                </c:pt>
                <c:pt idx="982">
                  <c:v>6.7817227153394201E-3</c:v>
                </c:pt>
                <c:pt idx="983">
                  <c:v>-1.5814476809601199E-4</c:v>
                </c:pt>
                <c:pt idx="984">
                  <c:v>-7.1382672834104299E-3</c:v>
                </c:pt>
                <c:pt idx="985">
                  <c:v>1.07407175896987E-2</c:v>
                </c:pt>
                <c:pt idx="986">
                  <c:v>6.5014376797099607E-3</c:v>
                </c:pt>
                <c:pt idx="987">
                  <c:v>-3.36579572446556E-3</c:v>
                </c:pt>
                <c:pt idx="988">
                  <c:v>-1.2237779722465299E-3</c:v>
                </c:pt>
                <c:pt idx="989">
                  <c:v>5.5076884610576306E-3</c:v>
                </c:pt>
                <c:pt idx="990">
                  <c:v>-5.5279409926240796E-3</c:v>
                </c:pt>
                <c:pt idx="991">
                  <c:v>-1.4143392924115501E-2</c:v>
                </c:pt>
                <c:pt idx="992">
                  <c:v>-2.0727090886360801E-2</c:v>
                </c:pt>
                <c:pt idx="993">
                  <c:v>-4.4168896112014001E-2</c:v>
                </c:pt>
                <c:pt idx="994">
                  <c:v>-5.9576447055881998E-2</c:v>
                </c:pt>
                <c:pt idx="995">
                  <c:v>-7.2223027878484794E-2</c:v>
                </c:pt>
                <c:pt idx="996">
                  <c:v>-7.1155144393049097E-2</c:v>
                </c:pt>
                <c:pt idx="997">
                  <c:v>-7.3795474434304301E-2</c:v>
                </c:pt>
                <c:pt idx="998">
                  <c:v>-7.3956994624328004E-2</c:v>
                </c:pt>
                <c:pt idx="999">
                  <c:v>-9.2380547568446103E-2</c:v>
                </c:pt>
                <c:pt idx="1000">
                  <c:v>-8.6965745718214804E-2</c:v>
                </c:pt>
                <c:pt idx="1001">
                  <c:v>-9.7499187398424794E-2</c:v>
                </c:pt>
                <c:pt idx="1002">
                  <c:v>-8.2245280660082506E-2</c:v>
                </c:pt>
                <c:pt idx="1003">
                  <c:v>-8.6324290536317003E-2</c:v>
                </c:pt>
                <c:pt idx="1004">
                  <c:v>-8.2650456307038406E-2</c:v>
                </c:pt>
                <c:pt idx="1005">
                  <c:v>-8.1833604200525004E-2</c:v>
                </c:pt>
                <c:pt idx="1006">
                  <c:v>-6.6125640705088098E-2</c:v>
                </c:pt>
                <c:pt idx="1007">
                  <c:v>-5.7411426428303498E-2</c:v>
                </c:pt>
                <c:pt idx="1008">
                  <c:v>-5.4692711588948596E-2</c:v>
                </c:pt>
                <c:pt idx="1009">
                  <c:v>-6.7043005375671996E-2</c:v>
                </c:pt>
                <c:pt idx="1010">
                  <c:v>-8.2454431803975492E-2</c:v>
                </c:pt>
                <c:pt idx="1011">
                  <c:v>-8.32657832229029E-2</c:v>
                </c:pt>
                <c:pt idx="1012">
                  <c:v>-5.5104513064132998E-2</c:v>
                </c:pt>
                <c:pt idx="1013">
                  <c:v>-4.08946118264783E-2</c:v>
                </c:pt>
                <c:pt idx="1014">
                  <c:v>-3.2910613826728302E-2</c:v>
                </c:pt>
                <c:pt idx="1015">
                  <c:v>-3.9236154519314899E-2</c:v>
                </c:pt>
                <c:pt idx="1016">
                  <c:v>-3.5051756469558701E-2</c:v>
                </c:pt>
                <c:pt idx="1017">
                  <c:v>-2.5181897737217199E-2</c:v>
                </c:pt>
                <c:pt idx="1018">
                  <c:v>-2.5476184523065402E-2</c:v>
                </c:pt>
                <c:pt idx="1019">
                  <c:v>-2.07939742467808E-2</c:v>
                </c:pt>
                <c:pt idx="1020">
                  <c:v>0</c:v>
                </c:pt>
              </c:numCache>
            </c:numRef>
          </c:val>
          <c:smooth val="0"/>
          <c:extLst>
            <c:ext xmlns:c16="http://schemas.microsoft.com/office/drawing/2014/chart" uri="{C3380CC4-5D6E-409C-BE32-E72D297353CC}">
              <c16:uniqueId val="{00000000-1D55-4091-B462-1B341D70D85C}"/>
            </c:ext>
          </c:extLst>
        </c:ser>
        <c:ser>
          <c:idx val="1"/>
          <c:order val="1"/>
          <c:tx>
            <c:strRef>
              <c:f>'Graph '!$R$1</c:f>
              <c:strCache>
                <c:ptCount val="1"/>
                <c:pt idx="0">
                  <c:v>Benchmark return USD </c:v>
                </c:pt>
              </c:strCache>
            </c:strRef>
          </c:tx>
          <c:spPr>
            <a:ln w="12700" cap="rnd">
              <a:solidFill>
                <a:schemeClr val="tx1"/>
              </a:solidFill>
              <a:prstDash val="solid"/>
              <a:round/>
            </a:ln>
            <a:effectLst/>
          </c:spPr>
          <c:marker>
            <c:symbol val="none"/>
          </c:marker>
          <c:cat>
            <c:numRef>
              <c:f>'Graph '!$P$2:$P$1022</c:f>
              <c:numCache>
                <c:formatCode>m/d/yyyy</c:formatCode>
                <c:ptCount val="1021"/>
                <c:pt idx="0">
                  <c:v>45930</c:v>
                </c:pt>
                <c:pt idx="1">
                  <c:v>45929</c:v>
                </c:pt>
                <c:pt idx="2">
                  <c:v>45926</c:v>
                </c:pt>
                <c:pt idx="3">
                  <c:v>45925</c:v>
                </c:pt>
                <c:pt idx="4">
                  <c:v>45924</c:v>
                </c:pt>
                <c:pt idx="5">
                  <c:v>45923</c:v>
                </c:pt>
                <c:pt idx="6">
                  <c:v>45922</c:v>
                </c:pt>
                <c:pt idx="7">
                  <c:v>45919</c:v>
                </c:pt>
                <c:pt idx="8">
                  <c:v>45918</c:v>
                </c:pt>
                <c:pt idx="9">
                  <c:v>45917</c:v>
                </c:pt>
                <c:pt idx="10">
                  <c:v>45916</c:v>
                </c:pt>
                <c:pt idx="11">
                  <c:v>45915</c:v>
                </c:pt>
                <c:pt idx="12">
                  <c:v>45912</c:v>
                </c:pt>
                <c:pt idx="13">
                  <c:v>45911</c:v>
                </c:pt>
                <c:pt idx="14">
                  <c:v>45910</c:v>
                </c:pt>
                <c:pt idx="15">
                  <c:v>45909</c:v>
                </c:pt>
                <c:pt idx="16">
                  <c:v>45908</c:v>
                </c:pt>
                <c:pt idx="17">
                  <c:v>45905</c:v>
                </c:pt>
                <c:pt idx="18">
                  <c:v>45904</c:v>
                </c:pt>
                <c:pt idx="19">
                  <c:v>45903</c:v>
                </c:pt>
                <c:pt idx="20">
                  <c:v>45902</c:v>
                </c:pt>
                <c:pt idx="21">
                  <c:v>45898</c:v>
                </c:pt>
                <c:pt idx="22">
                  <c:v>45897</c:v>
                </c:pt>
                <c:pt idx="23">
                  <c:v>45896</c:v>
                </c:pt>
                <c:pt idx="24">
                  <c:v>45895</c:v>
                </c:pt>
                <c:pt idx="25">
                  <c:v>45894</c:v>
                </c:pt>
                <c:pt idx="26">
                  <c:v>45891</c:v>
                </c:pt>
                <c:pt idx="27">
                  <c:v>45890</c:v>
                </c:pt>
                <c:pt idx="28">
                  <c:v>45889</c:v>
                </c:pt>
                <c:pt idx="29">
                  <c:v>45888</c:v>
                </c:pt>
                <c:pt idx="30">
                  <c:v>45887</c:v>
                </c:pt>
                <c:pt idx="31">
                  <c:v>45884</c:v>
                </c:pt>
                <c:pt idx="32">
                  <c:v>45883</c:v>
                </c:pt>
                <c:pt idx="33">
                  <c:v>45882</c:v>
                </c:pt>
                <c:pt idx="34">
                  <c:v>45881</c:v>
                </c:pt>
                <c:pt idx="35">
                  <c:v>45880</c:v>
                </c:pt>
                <c:pt idx="36">
                  <c:v>45877</c:v>
                </c:pt>
                <c:pt idx="37">
                  <c:v>45876</c:v>
                </c:pt>
                <c:pt idx="38">
                  <c:v>45875</c:v>
                </c:pt>
                <c:pt idx="39">
                  <c:v>45874</c:v>
                </c:pt>
                <c:pt idx="40">
                  <c:v>45873</c:v>
                </c:pt>
                <c:pt idx="41">
                  <c:v>45870</c:v>
                </c:pt>
                <c:pt idx="42">
                  <c:v>45869</c:v>
                </c:pt>
                <c:pt idx="43">
                  <c:v>45868</c:v>
                </c:pt>
                <c:pt idx="44">
                  <c:v>45867</c:v>
                </c:pt>
                <c:pt idx="45">
                  <c:v>45866</c:v>
                </c:pt>
                <c:pt idx="46">
                  <c:v>45863</c:v>
                </c:pt>
                <c:pt idx="47">
                  <c:v>45862</c:v>
                </c:pt>
                <c:pt idx="48">
                  <c:v>45861</c:v>
                </c:pt>
                <c:pt idx="49">
                  <c:v>45860</c:v>
                </c:pt>
                <c:pt idx="50">
                  <c:v>45859</c:v>
                </c:pt>
                <c:pt idx="51">
                  <c:v>45856</c:v>
                </c:pt>
                <c:pt idx="52">
                  <c:v>45855</c:v>
                </c:pt>
                <c:pt idx="53">
                  <c:v>45854</c:v>
                </c:pt>
                <c:pt idx="54">
                  <c:v>45853</c:v>
                </c:pt>
                <c:pt idx="55">
                  <c:v>45852</c:v>
                </c:pt>
                <c:pt idx="56">
                  <c:v>45849</c:v>
                </c:pt>
                <c:pt idx="57">
                  <c:v>45848</c:v>
                </c:pt>
                <c:pt idx="58">
                  <c:v>45847</c:v>
                </c:pt>
                <c:pt idx="59">
                  <c:v>45846</c:v>
                </c:pt>
                <c:pt idx="60">
                  <c:v>45845</c:v>
                </c:pt>
                <c:pt idx="61">
                  <c:v>45841</c:v>
                </c:pt>
                <c:pt idx="62">
                  <c:v>45840</c:v>
                </c:pt>
                <c:pt idx="63">
                  <c:v>45839</c:v>
                </c:pt>
                <c:pt idx="64">
                  <c:v>45838</c:v>
                </c:pt>
                <c:pt idx="65">
                  <c:v>45835</c:v>
                </c:pt>
                <c:pt idx="66">
                  <c:v>45834</c:v>
                </c:pt>
                <c:pt idx="67">
                  <c:v>45833</c:v>
                </c:pt>
                <c:pt idx="68">
                  <c:v>45832</c:v>
                </c:pt>
                <c:pt idx="69">
                  <c:v>45831</c:v>
                </c:pt>
                <c:pt idx="70">
                  <c:v>45828</c:v>
                </c:pt>
                <c:pt idx="71">
                  <c:v>45826</c:v>
                </c:pt>
                <c:pt idx="72">
                  <c:v>45825</c:v>
                </c:pt>
                <c:pt idx="73">
                  <c:v>45824</c:v>
                </c:pt>
                <c:pt idx="74">
                  <c:v>45821</c:v>
                </c:pt>
                <c:pt idx="75">
                  <c:v>45820</c:v>
                </c:pt>
                <c:pt idx="76">
                  <c:v>45819</c:v>
                </c:pt>
                <c:pt idx="77">
                  <c:v>45818</c:v>
                </c:pt>
                <c:pt idx="78">
                  <c:v>45817</c:v>
                </c:pt>
                <c:pt idx="79">
                  <c:v>45814</c:v>
                </c:pt>
                <c:pt idx="80">
                  <c:v>45813</c:v>
                </c:pt>
                <c:pt idx="81">
                  <c:v>45812</c:v>
                </c:pt>
                <c:pt idx="82">
                  <c:v>45811</c:v>
                </c:pt>
                <c:pt idx="83">
                  <c:v>45810</c:v>
                </c:pt>
                <c:pt idx="84">
                  <c:v>45807</c:v>
                </c:pt>
                <c:pt idx="85">
                  <c:v>45806</c:v>
                </c:pt>
                <c:pt idx="86">
                  <c:v>45805</c:v>
                </c:pt>
                <c:pt idx="87">
                  <c:v>45804</c:v>
                </c:pt>
                <c:pt idx="88">
                  <c:v>45800</c:v>
                </c:pt>
                <c:pt idx="89">
                  <c:v>45799</c:v>
                </c:pt>
                <c:pt idx="90">
                  <c:v>45798</c:v>
                </c:pt>
                <c:pt idx="91">
                  <c:v>45797</c:v>
                </c:pt>
                <c:pt idx="92">
                  <c:v>45796</c:v>
                </c:pt>
                <c:pt idx="93">
                  <c:v>45793</c:v>
                </c:pt>
                <c:pt idx="94">
                  <c:v>45792</c:v>
                </c:pt>
                <c:pt idx="95">
                  <c:v>45791</c:v>
                </c:pt>
                <c:pt idx="96">
                  <c:v>45790</c:v>
                </c:pt>
                <c:pt idx="97">
                  <c:v>45789</c:v>
                </c:pt>
                <c:pt idx="98">
                  <c:v>45786</c:v>
                </c:pt>
                <c:pt idx="99">
                  <c:v>45785</c:v>
                </c:pt>
                <c:pt idx="100">
                  <c:v>45784</c:v>
                </c:pt>
                <c:pt idx="101">
                  <c:v>45783</c:v>
                </c:pt>
                <c:pt idx="102">
                  <c:v>45782</c:v>
                </c:pt>
                <c:pt idx="103">
                  <c:v>45779</c:v>
                </c:pt>
                <c:pt idx="104">
                  <c:v>45778</c:v>
                </c:pt>
                <c:pt idx="105">
                  <c:v>45777</c:v>
                </c:pt>
                <c:pt idx="106">
                  <c:v>45776</c:v>
                </c:pt>
                <c:pt idx="107">
                  <c:v>45775</c:v>
                </c:pt>
                <c:pt idx="108">
                  <c:v>45772</c:v>
                </c:pt>
                <c:pt idx="109">
                  <c:v>45771</c:v>
                </c:pt>
                <c:pt idx="110">
                  <c:v>45770</c:v>
                </c:pt>
                <c:pt idx="111">
                  <c:v>45769</c:v>
                </c:pt>
                <c:pt idx="112">
                  <c:v>45768</c:v>
                </c:pt>
                <c:pt idx="113">
                  <c:v>45764</c:v>
                </c:pt>
                <c:pt idx="114">
                  <c:v>45763</c:v>
                </c:pt>
                <c:pt idx="115">
                  <c:v>45762</c:v>
                </c:pt>
                <c:pt idx="116">
                  <c:v>45761</c:v>
                </c:pt>
                <c:pt idx="117">
                  <c:v>45758</c:v>
                </c:pt>
                <c:pt idx="118">
                  <c:v>45757</c:v>
                </c:pt>
                <c:pt idx="119">
                  <c:v>45756</c:v>
                </c:pt>
                <c:pt idx="120">
                  <c:v>45755</c:v>
                </c:pt>
                <c:pt idx="121">
                  <c:v>45754</c:v>
                </c:pt>
                <c:pt idx="122">
                  <c:v>45751</c:v>
                </c:pt>
                <c:pt idx="123">
                  <c:v>45750</c:v>
                </c:pt>
                <c:pt idx="124">
                  <c:v>45749</c:v>
                </c:pt>
                <c:pt idx="125">
                  <c:v>45748</c:v>
                </c:pt>
                <c:pt idx="126">
                  <c:v>45747</c:v>
                </c:pt>
                <c:pt idx="127">
                  <c:v>45744</c:v>
                </c:pt>
                <c:pt idx="128">
                  <c:v>45743</c:v>
                </c:pt>
                <c:pt idx="129">
                  <c:v>45742</c:v>
                </c:pt>
                <c:pt idx="130">
                  <c:v>45741</c:v>
                </c:pt>
                <c:pt idx="131">
                  <c:v>45740</c:v>
                </c:pt>
                <c:pt idx="132">
                  <c:v>45737</c:v>
                </c:pt>
                <c:pt idx="133">
                  <c:v>45736</c:v>
                </c:pt>
                <c:pt idx="134">
                  <c:v>45735</c:v>
                </c:pt>
                <c:pt idx="135">
                  <c:v>45734</c:v>
                </c:pt>
                <c:pt idx="136">
                  <c:v>45733</c:v>
                </c:pt>
                <c:pt idx="137">
                  <c:v>45730</c:v>
                </c:pt>
                <c:pt idx="138">
                  <c:v>45729</c:v>
                </c:pt>
                <c:pt idx="139">
                  <c:v>45728</c:v>
                </c:pt>
                <c:pt idx="140">
                  <c:v>45727</c:v>
                </c:pt>
                <c:pt idx="141">
                  <c:v>45726</c:v>
                </c:pt>
                <c:pt idx="142">
                  <c:v>45723</c:v>
                </c:pt>
                <c:pt idx="143">
                  <c:v>45722</c:v>
                </c:pt>
                <c:pt idx="144">
                  <c:v>45721</c:v>
                </c:pt>
                <c:pt idx="145">
                  <c:v>45720</c:v>
                </c:pt>
                <c:pt idx="146">
                  <c:v>45719</c:v>
                </c:pt>
                <c:pt idx="147">
                  <c:v>45716</c:v>
                </c:pt>
                <c:pt idx="148">
                  <c:v>45715</c:v>
                </c:pt>
                <c:pt idx="149">
                  <c:v>45714</c:v>
                </c:pt>
                <c:pt idx="150">
                  <c:v>45713</c:v>
                </c:pt>
                <c:pt idx="151">
                  <c:v>45712</c:v>
                </c:pt>
                <c:pt idx="152">
                  <c:v>45709</c:v>
                </c:pt>
                <c:pt idx="153">
                  <c:v>45708</c:v>
                </c:pt>
                <c:pt idx="154">
                  <c:v>45707</c:v>
                </c:pt>
                <c:pt idx="155">
                  <c:v>45706</c:v>
                </c:pt>
                <c:pt idx="156">
                  <c:v>45702</c:v>
                </c:pt>
                <c:pt idx="157">
                  <c:v>45701</c:v>
                </c:pt>
                <c:pt idx="158">
                  <c:v>45700</c:v>
                </c:pt>
                <c:pt idx="159">
                  <c:v>45699</c:v>
                </c:pt>
                <c:pt idx="160">
                  <c:v>45698</c:v>
                </c:pt>
                <c:pt idx="161">
                  <c:v>45695</c:v>
                </c:pt>
                <c:pt idx="162">
                  <c:v>45694</c:v>
                </c:pt>
                <c:pt idx="163">
                  <c:v>45693</c:v>
                </c:pt>
                <c:pt idx="164">
                  <c:v>45692</c:v>
                </c:pt>
                <c:pt idx="165">
                  <c:v>45691</c:v>
                </c:pt>
                <c:pt idx="166">
                  <c:v>45688</c:v>
                </c:pt>
                <c:pt idx="167">
                  <c:v>45687</c:v>
                </c:pt>
                <c:pt idx="168">
                  <c:v>45686</c:v>
                </c:pt>
                <c:pt idx="169">
                  <c:v>45685</c:v>
                </c:pt>
                <c:pt idx="170">
                  <c:v>45684</c:v>
                </c:pt>
                <c:pt idx="171">
                  <c:v>45681</c:v>
                </c:pt>
                <c:pt idx="172">
                  <c:v>45680</c:v>
                </c:pt>
                <c:pt idx="173">
                  <c:v>45679</c:v>
                </c:pt>
                <c:pt idx="174">
                  <c:v>45678</c:v>
                </c:pt>
                <c:pt idx="175">
                  <c:v>45674</c:v>
                </c:pt>
                <c:pt idx="176">
                  <c:v>45673</c:v>
                </c:pt>
                <c:pt idx="177">
                  <c:v>45672</c:v>
                </c:pt>
                <c:pt idx="178">
                  <c:v>45671</c:v>
                </c:pt>
                <c:pt idx="179">
                  <c:v>45670</c:v>
                </c:pt>
                <c:pt idx="180">
                  <c:v>45667</c:v>
                </c:pt>
                <c:pt idx="181">
                  <c:v>45665</c:v>
                </c:pt>
                <c:pt idx="182">
                  <c:v>45664</c:v>
                </c:pt>
                <c:pt idx="183">
                  <c:v>45663</c:v>
                </c:pt>
                <c:pt idx="184">
                  <c:v>45660</c:v>
                </c:pt>
                <c:pt idx="185">
                  <c:v>45659</c:v>
                </c:pt>
                <c:pt idx="186">
                  <c:v>45657</c:v>
                </c:pt>
                <c:pt idx="187">
                  <c:v>45656</c:v>
                </c:pt>
                <c:pt idx="188">
                  <c:v>45653</c:v>
                </c:pt>
                <c:pt idx="189">
                  <c:v>45652</c:v>
                </c:pt>
                <c:pt idx="190">
                  <c:v>45650</c:v>
                </c:pt>
                <c:pt idx="191">
                  <c:v>45649</c:v>
                </c:pt>
                <c:pt idx="192">
                  <c:v>45646</c:v>
                </c:pt>
                <c:pt idx="193">
                  <c:v>45645</c:v>
                </c:pt>
                <c:pt idx="194">
                  <c:v>45644</c:v>
                </c:pt>
                <c:pt idx="195">
                  <c:v>45643</c:v>
                </c:pt>
                <c:pt idx="196">
                  <c:v>45642</c:v>
                </c:pt>
                <c:pt idx="197">
                  <c:v>45639</c:v>
                </c:pt>
                <c:pt idx="198">
                  <c:v>45638</c:v>
                </c:pt>
                <c:pt idx="199">
                  <c:v>45637</c:v>
                </c:pt>
                <c:pt idx="200">
                  <c:v>45636</c:v>
                </c:pt>
                <c:pt idx="201">
                  <c:v>45635</c:v>
                </c:pt>
                <c:pt idx="202">
                  <c:v>45632</c:v>
                </c:pt>
                <c:pt idx="203">
                  <c:v>45631</c:v>
                </c:pt>
                <c:pt idx="204">
                  <c:v>45630</c:v>
                </c:pt>
                <c:pt idx="205">
                  <c:v>45629</c:v>
                </c:pt>
                <c:pt idx="206">
                  <c:v>45628</c:v>
                </c:pt>
                <c:pt idx="207">
                  <c:v>45625</c:v>
                </c:pt>
                <c:pt idx="208">
                  <c:v>45623</c:v>
                </c:pt>
                <c:pt idx="209">
                  <c:v>45622</c:v>
                </c:pt>
                <c:pt idx="210">
                  <c:v>45621</c:v>
                </c:pt>
                <c:pt idx="211">
                  <c:v>45618</c:v>
                </c:pt>
                <c:pt idx="212">
                  <c:v>45617</c:v>
                </c:pt>
                <c:pt idx="213">
                  <c:v>45616</c:v>
                </c:pt>
                <c:pt idx="214">
                  <c:v>45615</c:v>
                </c:pt>
                <c:pt idx="215">
                  <c:v>45614</c:v>
                </c:pt>
                <c:pt idx="216">
                  <c:v>45611</c:v>
                </c:pt>
                <c:pt idx="217">
                  <c:v>45610</c:v>
                </c:pt>
                <c:pt idx="218">
                  <c:v>45609</c:v>
                </c:pt>
                <c:pt idx="219">
                  <c:v>45608</c:v>
                </c:pt>
                <c:pt idx="220">
                  <c:v>45607</c:v>
                </c:pt>
                <c:pt idx="221">
                  <c:v>45604</c:v>
                </c:pt>
                <c:pt idx="222">
                  <c:v>45603</c:v>
                </c:pt>
                <c:pt idx="223">
                  <c:v>45602</c:v>
                </c:pt>
                <c:pt idx="224">
                  <c:v>45601</c:v>
                </c:pt>
                <c:pt idx="225">
                  <c:v>45600</c:v>
                </c:pt>
                <c:pt idx="226">
                  <c:v>45597</c:v>
                </c:pt>
                <c:pt idx="227">
                  <c:v>45596</c:v>
                </c:pt>
                <c:pt idx="228">
                  <c:v>45595</c:v>
                </c:pt>
                <c:pt idx="229">
                  <c:v>45594</c:v>
                </c:pt>
                <c:pt idx="230">
                  <c:v>45593</c:v>
                </c:pt>
                <c:pt idx="231">
                  <c:v>45590</c:v>
                </c:pt>
                <c:pt idx="232">
                  <c:v>45589</c:v>
                </c:pt>
                <c:pt idx="233">
                  <c:v>45588</c:v>
                </c:pt>
                <c:pt idx="234">
                  <c:v>45587</c:v>
                </c:pt>
                <c:pt idx="235">
                  <c:v>45586</c:v>
                </c:pt>
                <c:pt idx="236">
                  <c:v>45583</c:v>
                </c:pt>
                <c:pt idx="237">
                  <c:v>45582</c:v>
                </c:pt>
                <c:pt idx="238">
                  <c:v>45581</c:v>
                </c:pt>
                <c:pt idx="239">
                  <c:v>45580</c:v>
                </c:pt>
                <c:pt idx="240">
                  <c:v>45579</c:v>
                </c:pt>
                <c:pt idx="241">
                  <c:v>45576</c:v>
                </c:pt>
                <c:pt idx="242">
                  <c:v>45575</c:v>
                </c:pt>
                <c:pt idx="243">
                  <c:v>45574</c:v>
                </c:pt>
                <c:pt idx="244">
                  <c:v>45573</c:v>
                </c:pt>
                <c:pt idx="245">
                  <c:v>45572</c:v>
                </c:pt>
                <c:pt idx="246">
                  <c:v>45569</c:v>
                </c:pt>
                <c:pt idx="247">
                  <c:v>45568</c:v>
                </c:pt>
                <c:pt idx="248">
                  <c:v>45567</c:v>
                </c:pt>
                <c:pt idx="249">
                  <c:v>45566</c:v>
                </c:pt>
                <c:pt idx="250">
                  <c:v>45565</c:v>
                </c:pt>
                <c:pt idx="251">
                  <c:v>45562</c:v>
                </c:pt>
                <c:pt idx="252">
                  <c:v>45561</c:v>
                </c:pt>
                <c:pt idx="253">
                  <c:v>45560</c:v>
                </c:pt>
                <c:pt idx="254">
                  <c:v>45559</c:v>
                </c:pt>
                <c:pt idx="255">
                  <c:v>45558</c:v>
                </c:pt>
                <c:pt idx="256">
                  <c:v>45555</c:v>
                </c:pt>
                <c:pt idx="257">
                  <c:v>45554</c:v>
                </c:pt>
                <c:pt idx="258">
                  <c:v>45553</c:v>
                </c:pt>
                <c:pt idx="259">
                  <c:v>45552</c:v>
                </c:pt>
                <c:pt idx="260">
                  <c:v>45551</c:v>
                </c:pt>
                <c:pt idx="261">
                  <c:v>45548</c:v>
                </c:pt>
                <c:pt idx="262">
                  <c:v>45547</c:v>
                </c:pt>
                <c:pt idx="263">
                  <c:v>45546</c:v>
                </c:pt>
                <c:pt idx="264">
                  <c:v>45545</c:v>
                </c:pt>
                <c:pt idx="265">
                  <c:v>45544</c:v>
                </c:pt>
                <c:pt idx="266">
                  <c:v>45541</c:v>
                </c:pt>
                <c:pt idx="267">
                  <c:v>45540</c:v>
                </c:pt>
                <c:pt idx="268">
                  <c:v>45539</c:v>
                </c:pt>
                <c:pt idx="269">
                  <c:v>45538</c:v>
                </c:pt>
                <c:pt idx="270">
                  <c:v>45534</c:v>
                </c:pt>
                <c:pt idx="271">
                  <c:v>45533</c:v>
                </c:pt>
                <c:pt idx="272">
                  <c:v>45532</c:v>
                </c:pt>
                <c:pt idx="273">
                  <c:v>45531</c:v>
                </c:pt>
                <c:pt idx="274">
                  <c:v>45530</c:v>
                </c:pt>
                <c:pt idx="275">
                  <c:v>45527</c:v>
                </c:pt>
                <c:pt idx="276">
                  <c:v>45526</c:v>
                </c:pt>
                <c:pt idx="277">
                  <c:v>45525</c:v>
                </c:pt>
                <c:pt idx="278">
                  <c:v>45524</c:v>
                </c:pt>
                <c:pt idx="279">
                  <c:v>45523</c:v>
                </c:pt>
                <c:pt idx="280">
                  <c:v>45520</c:v>
                </c:pt>
                <c:pt idx="281">
                  <c:v>45519</c:v>
                </c:pt>
                <c:pt idx="282">
                  <c:v>45518</c:v>
                </c:pt>
                <c:pt idx="283">
                  <c:v>45517</c:v>
                </c:pt>
                <c:pt idx="284">
                  <c:v>45516</c:v>
                </c:pt>
                <c:pt idx="285">
                  <c:v>45513</c:v>
                </c:pt>
                <c:pt idx="286">
                  <c:v>45512</c:v>
                </c:pt>
                <c:pt idx="287">
                  <c:v>45511</c:v>
                </c:pt>
                <c:pt idx="288">
                  <c:v>45510</c:v>
                </c:pt>
                <c:pt idx="289">
                  <c:v>45509</c:v>
                </c:pt>
                <c:pt idx="290">
                  <c:v>45506</c:v>
                </c:pt>
                <c:pt idx="291">
                  <c:v>45505</c:v>
                </c:pt>
                <c:pt idx="292">
                  <c:v>45504</c:v>
                </c:pt>
                <c:pt idx="293">
                  <c:v>45503</c:v>
                </c:pt>
                <c:pt idx="294">
                  <c:v>45502</c:v>
                </c:pt>
                <c:pt idx="295">
                  <c:v>45499</c:v>
                </c:pt>
                <c:pt idx="296">
                  <c:v>45498</c:v>
                </c:pt>
                <c:pt idx="297">
                  <c:v>45497</c:v>
                </c:pt>
                <c:pt idx="298">
                  <c:v>45496</c:v>
                </c:pt>
                <c:pt idx="299">
                  <c:v>45495</c:v>
                </c:pt>
                <c:pt idx="300">
                  <c:v>45492</c:v>
                </c:pt>
                <c:pt idx="301">
                  <c:v>45491</c:v>
                </c:pt>
                <c:pt idx="302">
                  <c:v>45490</c:v>
                </c:pt>
                <c:pt idx="303">
                  <c:v>45489</c:v>
                </c:pt>
                <c:pt idx="304">
                  <c:v>45488</c:v>
                </c:pt>
                <c:pt idx="305">
                  <c:v>45485</c:v>
                </c:pt>
                <c:pt idx="306">
                  <c:v>45484</c:v>
                </c:pt>
                <c:pt idx="307">
                  <c:v>45483</c:v>
                </c:pt>
                <c:pt idx="308">
                  <c:v>45482</c:v>
                </c:pt>
                <c:pt idx="309">
                  <c:v>45481</c:v>
                </c:pt>
                <c:pt idx="310">
                  <c:v>45478</c:v>
                </c:pt>
                <c:pt idx="311">
                  <c:v>45476</c:v>
                </c:pt>
                <c:pt idx="312">
                  <c:v>45475</c:v>
                </c:pt>
                <c:pt idx="313">
                  <c:v>45474</c:v>
                </c:pt>
                <c:pt idx="314">
                  <c:v>45471</c:v>
                </c:pt>
                <c:pt idx="315">
                  <c:v>45470</c:v>
                </c:pt>
                <c:pt idx="316">
                  <c:v>45469</c:v>
                </c:pt>
                <c:pt idx="317">
                  <c:v>45468</c:v>
                </c:pt>
                <c:pt idx="318">
                  <c:v>45467</c:v>
                </c:pt>
                <c:pt idx="319">
                  <c:v>45464</c:v>
                </c:pt>
                <c:pt idx="320">
                  <c:v>45463</c:v>
                </c:pt>
                <c:pt idx="321">
                  <c:v>45461</c:v>
                </c:pt>
                <c:pt idx="322">
                  <c:v>45460</c:v>
                </c:pt>
                <c:pt idx="323">
                  <c:v>45457</c:v>
                </c:pt>
                <c:pt idx="324">
                  <c:v>45456</c:v>
                </c:pt>
                <c:pt idx="325">
                  <c:v>45455</c:v>
                </c:pt>
                <c:pt idx="326">
                  <c:v>45454</c:v>
                </c:pt>
                <c:pt idx="327">
                  <c:v>45453</c:v>
                </c:pt>
                <c:pt idx="328">
                  <c:v>45450</c:v>
                </c:pt>
                <c:pt idx="329">
                  <c:v>45449</c:v>
                </c:pt>
                <c:pt idx="330">
                  <c:v>45448</c:v>
                </c:pt>
                <c:pt idx="331">
                  <c:v>45447</c:v>
                </c:pt>
                <c:pt idx="332">
                  <c:v>45446</c:v>
                </c:pt>
                <c:pt idx="333">
                  <c:v>45443</c:v>
                </c:pt>
                <c:pt idx="334">
                  <c:v>45442</c:v>
                </c:pt>
                <c:pt idx="335">
                  <c:v>45441</c:v>
                </c:pt>
                <c:pt idx="336">
                  <c:v>45440</c:v>
                </c:pt>
                <c:pt idx="337">
                  <c:v>45439</c:v>
                </c:pt>
                <c:pt idx="338">
                  <c:v>45435</c:v>
                </c:pt>
                <c:pt idx="339">
                  <c:v>45434</c:v>
                </c:pt>
                <c:pt idx="340">
                  <c:v>45433</c:v>
                </c:pt>
                <c:pt idx="341">
                  <c:v>45432</c:v>
                </c:pt>
                <c:pt idx="342">
                  <c:v>45429</c:v>
                </c:pt>
                <c:pt idx="343">
                  <c:v>45428</c:v>
                </c:pt>
                <c:pt idx="344">
                  <c:v>45427</c:v>
                </c:pt>
                <c:pt idx="345">
                  <c:v>45426</c:v>
                </c:pt>
                <c:pt idx="346">
                  <c:v>45425</c:v>
                </c:pt>
                <c:pt idx="347">
                  <c:v>45422</c:v>
                </c:pt>
                <c:pt idx="348">
                  <c:v>45421</c:v>
                </c:pt>
                <c:pt idx="349">
                  <c:v>45420</c:v>
                </c:pt>
                <c:pt idx="350">
                  <c:v>45419</c:v>
                </c:pt>
                <c:pt idx="351">
                  <c:v>45418</c:v>
                </c:pt>
                <c:pt idx="352">
                  <c:v>45415</c:v>
                </c:pt>
                <c:pt idx="353">
                  <c:v>45414</c:v>
                </c:pt>
                <c:pt idx="354">
                  <c:v>45413</c:v>
                </c:pt>
                <c:pt idx="355">
                  <c:v>45412</c:v>
                </c:pt>
                <c:pt idx="356">
                  <c:v>45411</c:v>
                </c:pt>
                <c:pt idx="357">
                  <c:v>45408</c:v>
                </c:pt>
                <c:pt idx="358">
                  <c:v>45407</c:v>
                </c:pt>
                <c:pt idx="359">
                  <c:v>45406</c:v>
                </c:pt>
                <c:pt idx="360">
                  <c:v>45405</c:v>
                </c:pt>
                <c:pt idx="361">
                  <c:v>45404</c:v>
                </c:pt>
                <c:pt idx="362">
                  <c:v>45401</c:v>
                </c:pt>
                <c:pt idx="363">
                  <c:v>45400</c:v>
                </c:pt>
                <c:pt idx="364">
                  <c:v>45399</c:v>
                </c:pt>
                <c:pt idx="365">
                  <c:v>45398</c:v>
                </c:pt>
                <c:pt idx="366">
                  <c:v>45397</c:v>
                </c:pt>
                <c:pt idx="367">
                  <c:v>45394</c:v>
                </c:pt>
                <c:pt idx="368">
                  <c:v>45393</c:v>
                </c:pt>
                <c:pt idx="369">
                  <c:v>45392</c:v>
                </c:pt>
                <c:pt idx="370">
                  <c:v>45391</c:v>
                </c:pt>
                <c:pt idx="371">
                  <c:v>45390</c:v>
                </c:pt>
                <c:pt idx="372">
                  <c:v>45387</c:v>
                </c:pt>
                <c:pt idx="373">
                  <c:v>45386</c:v>
                </c:pt>
                <c:pt idx="374">
                  <c:v>45385</c:v>
                </c:pt>
                <c:pt idx="375">
                  <c:v>45384</c:v>
                </c:pt>
                <c:pt idx="376">
                  <c:v>45383</c:v>
                </c:pt>
                <c:pt idx="377">
                  <c:v>45379</c:v>
                </c:pt>
                <c:pt idx="378">
                  <c:v>45378</c:v>
                </c:pt>
                <c:pt idx="379">
                  <c:v>45377</c:v>
                </c:pt>
                <c:pt idx="380">
                  <c:v>45376</c:v>
                </c:pt>
                <c:pt idx="381">
                  <c:v>45373</c:v>
                </c:pt>
                <c:pt idx="382">
                  <c:v>45372</c:v>
                </c:pt>
                <c:pt idx="383">
                  <c:v>45371</c:v>
                </c:pt>
                <c:pt idx="384">
                  <c:v>45370</c:v>
                </c:pt>
                <c:pt idx="385">
                  <c:v>45369</c:v>
                </c:pt>
                <c:pt idx="386">
                  <c:v>45366</c:v>
                </c:pt>
                <c:pt idx="387">
                  <c:v>45365</c:v>
                </c:pt>
                <c:pt idx="388">
                  <c:v>45364</c:v>
                </c:pt>
                <c:pt idx="389">
                  <c:v>45363</c:v>
                </c:pt>
                <c:pt idx="390">
                  <c:v>45362</c:v>
                </c:pt>
                <c:pt idx="391">
                  <c:v>45359</c:v>
                </c:pt>
                <c:pt idx="392">
                  <c:v>45358</c:v>
                </c:pt>
                <c:pt idx="393">
                  <c:v>45357</c:v>
                </c:pt>
                <c:pt idx="394">
                  <c:v>45356</c:v>
                </c:pt>
                <c:pt idx="395">
                  <c:v>45355</c:v>
                </c:pt>
                <c:pt idx="396">
                  <c:v>45352</c:v>
                </c:pt>
                <c:pt idx="397">
                  <c:v>45351</c:v>
                </c:pt>
                <c:pt idx="398">
                  <c:v>45350</c:v>
                </c:pt>
                <c:pt idx="399">
                  <c:v>45349</c:v>
                </c:pt>
                <c:pt idx="400">
                  <c:v>45348</c:v>
                </c:pt>
                <c:pt idx="401">
                  <c:v>45345</c:v>
                </c:pt>
                <c:pt idx="402">
                  <c:v>45344</c:v>
                </c:pt>
                <c:pt idx="403">
                  <c:v>45343</c:v>
                </c:pt>
                <c:pt idx="404">
                  <c:v>45342</c:v>
                </c:pt>
                <c:pt idx="405">
                  <c:v>45338</c:v>
                </c:pt>
                <c:pt idx="406">
                  <c:v>45337</c:v>
                </c:pt>
                <c:pt idx="407">
                  <c:v>45336</c:v>
                </c:pt>
                <c:pt idx="408">
                  <c:v>45335</c:v>
                </c:pt>
                <c:pt idx="409">
                  <c:v>45334</c:v>
                </c:pt>
                <c:pt idx="410">
                  <c:v>45331</c:v>
                </c:pt>
                <c:pt idx="411">
                  <c:v>45330</c:v>
                </c:pt>
                <c:pt idx="412">
                  <c:v>45329</c:v>
                </c:pt>
                <c:pt idx="413">
                  <c:v>45328</c:v>
                </c:pt>
                <c:pt idx="414">
                  <c:v>45327</c:v>
                </c:pt>
                <c:pt idx="415">
                  <c:v>45324</c:v>
                </c:pt>
                <c:pt idx="416">
                  <c:v>45323</c:v>
                </c:pt>
                <c:pt idx="417">
                  <c:v>45322</c:v>
                </c:pt>
                <c:pt idx="418">
                  <c:v>45321</c:v>
                </c:pt>
                <c:pt idx="419">
                  <c:v>45320</c:v>
                </c:pt>
                <c:pt idx="420">
                  <c:v>45317</c:v>
                </c:pt>
                <c:pt idx="421">
                  <c:v>45316</c:v>
                </c:pt>
                <c:pt idx="422">
                  <c:v>45315</c:v>
                </c:pt>
                <c:pt idx="423">
                  <c:v>45314</c:v>
                </c:pt>
                <c:pt idx="424">
                  <c:v>45313</c:v>
                </c:pt>
                <c:pt idx="425">
                  <c:v>45310</c:v>
                </c:pt>
                <c:pt idx="426">
                  <c:v>45309</c:v>
                </c:pt>
                <c:pt idx="427">
                  <c:v>45308</c:v>
                </c:pt>
                <c:pt idx="428">
                  <c:v>45307</c:v>
                </c:pt>
                <c:pt idx="429">
                  <c:v>45303</c:v>
                </c:pt>
                <c:pt idx="430">
                  <c:v>45302</c:v>
                </c:pt>
                <c:pt idx="431">
                  <c:v>45301</c:v>
                </c:pt>
                <c:pt idx="432">
                  <c:v>45300</c:v>
                </c:pt>
                <c:pt idx="433">
                  <c:v>45299</c:v>
                </c:pt>
                <c:pt idx="434">
                  <c:v>45296</c:v>
                </c:pt>
                <c:pt idx="435">
                  <c:v>45295</c:v>
                </c:pt>
                <c:pt idx="436">
                  <c:v>45294</c:v>
                </c:pt>
                <c:pt idx="437">
                  <c:v>45293</c:v>
                </c:pt>
                <c:pt idx="438">
                  <c:v>45289</c:v>
                </c:pt>
                <c:pt idx="439">
                  <c:v>45288</c:v>
                </c:pt>
                <c:pt idx="440">
                  <c:v>45287</c:v>
                </c:pt>
                <c:pt idx="441">
                  <c:v>45286</c:v>
                </c:pt>
                <c:pt idx="442">
                  <c:v>45282</c:v>
                </c:pt>
                <c:pt idx="443">
                  <c:v>45281</c:v>
                </c:pt>
                <c:pt idx="444">
                  <c:v>45280</c:v>
                </c:pt>
                <c:pt idx="445">
                  <c:v>45279</c:v>
                </c:pt>
                <c:pt idx="446">
                  <c:v>45278</c:v>
                </c:pt>
                <c:pt idx="447">
                  <c:v>45275</c:v>
                </c:pt>
                <c:pt idx="448">
                  <c:v>45274</c:v>
                </c:pt>
                <c:pt idx="449">
                  <c:v>45273</c:v>
                </c:pt>
                <c:pt idx="450">
                  <c:v>45272</c:v>
                </c:pt>
                <c:pt idx="451">
                  <c:v>45271</c:v>
                </c:pt>
                <c:pt idx="452">
                  <c:v>45268</c:v>
                </c:pt>
                <c:pt idx="453">
                  <c:v>45267</c:v>
                </c:pt>
                <c:pt idx="454">
                  <c:v>45266</c:v>
                </c:pt>
                <c:pt idx="455">
                  <c:v>45265</c:v>
                </c:pt>
                <c:pt idx="456">
                  <c:v>45264</c:v>
                </c:pt>
                <c:pt idx="457">
                  <c:v>45261</c:v>
                </c:pt>
                <c:pt idx="458">
                  <c:v>45260</c:v>
                </c:pt>
                <c:pt idx="459">
                  <c:v>45259</c:v>
                </c:pt>
                <c:pt idx="460">
                  <c:v>45258</c:v>
                </c:pt>
                <c:pt idx="461">
                  <c:v>45257</c:v>
                </c:pt>
                <c:pt idx="462">
                  <c:v>45254</c:v>
                </c:pt>
                <c:pt idx="463">
                  <c:v>45252</c:v>
                </c:pt>
                <c:pt idx="464">
                  <c:v>45251</c:v>
                </c:pt>
                <c:pt idx="465">
                  <c:v>45250</c:v>
                </c:pt>
                <c:pt idx="466">
                  <c:v>45247</c:v>
                </c:pt>
                <c:pt idx="467">
                  <c:v>45246</c:v>
                </c:pt>
                <c:pt idx="468">
                  <c:v>45245</c:v>
                </c:pt>
                <c:pt idx="469">
                  <c:v>45244</c:v>
                </c:pt>
                <c:pt idx="470">
                  <c:v>45243</c:v>
                </c:pt>
                <c:pt idx="471">
                  <c:v>45240</c:v>
                </c:pt>
                <c:pt idx="472">
                  <c:v>45239</c:v>
                </c:pt>
                <c:pt idx="473">
                  <c:v>45238</c:v>
                </c:pt>
                <c:pt idx="474">
                  <c:v>45237</c:v>
                </c:pt>
                <c:pt idx="475">
                  <c:v>45236</c:v>
                </c:pt>
                <c:pt idx="476">
                  <c:v>45233</c:v>
                </c:pt>
                <c:pt idx="477">
                  <c:v>45232</c:v>
                </c:pt>
                <c:pt idx="478">
                  <c:v>45231</c:v>
                </c:pt>
                <c:pt idx="479">
                  <c:v>45230</c:v>
                </c:pt>
                <c:pt idx="480">
                  <c:v>45229</c:v>
                </c:pt>
                <c:pt idx="481">
                  <c:v>45226</c:v>
                </c:pt>
                <c:pt idx="482">
                  <c:v>45225</c:v>
                </c:pt>
                <c:pt idx="483">
                  <c:v>45224</c:v>
                </c:pt>
                <c:pt idx="484">
                  <c:v>45223</c:v>
                </c:pt>
                <c:pt idx="485">
                  <c:v>45222</c:v>
                </c:pt>
                <c:pt idx="486">
                  <c:v>45219</c:v>
                </c:pt>
                <c:pt idx="487">
                  <c:v>45218</c:v>
                </c:pt>
                <c:pt idx="488">
                  <c:v>45217</c:v>
                </c:pt>
                <c:pt idx="489">
                  <c:v>45216</c:v>
                </c:pt>
                <c:pt idx="490">
                  <c:v>45215</c:v>
                </c:pt>
                <c:pt idx="491">
                  <c:v>45212</c:v>
                </c:pt>
                <c:pt idx="492">
                  <c:v>45211</c:v>
                </c:pt>
                <c:pt idx="493">
                  <c:v>45210</c:v>
                </c:pt>
                <c:pt idx="494">
                  <c:v>45209</c:v>
                </c:pt>
                <c:pt idx="495">
                  <c:v>45208</c:v>
                </c:pt>
                <c:pt idx="496">
                  <c:v>45205</c:v>
                </c:pt>
                <c:pt idx="497">
                  <c:v>45204</c:v>
                </c:pt>
                <c:pt idx="498">
                  <c:v>45203</c:v>
                </c:pt>
                <c:pt idx="499">
                  <c:v>45202</c:v>
                </c:pt>
                <c:pt idx="500">
                  <c:v>45201</c:v>
                </c:pt>
                <c:pt idx="501">
                  <c:v>45198</c:v>
                </c:pt>
                <c:pt idx="502">
                  <c:v>45197</c:v>
                </c:pt>
                <c:pt idx="503">
                  <c:v>45196</c:v>
                </c:pt>
                <c:pt idx="504">
                  <c:v>45195</c:v>
                </c:pt>
                <c:pt idx="505">
                  <c:v>45194</c:v>
                </c:pt>
                <c:pt idx="506">
                  <c:v>45191</c:v>
                </c:pt>
                <c:pt idx="507">
                  <c:v>45190</c:v>
                </c:pt>
                <c:pt idx="508">
                  <c:v>45189</c:v>
                </c:pt>
                <c:pt idx="509">
                  <c:v>45188</c:v>
                </c:pt>
                <c:pt idx="510">
                  <c:v>45187</c:v>
                </c:pt>
                <c:pt idx="511">
                  <c:v>45184</c:v>
                </c:pt>
                <c:pt idx="512">
                  <c:v>45183</c:v>
                </c:pt>
                <c:pt idx="513">
                  <c:v>45182</c:v>
                </c:pt>
                <c:pt idx="514">
                  <c:v>45181</c:v>
                </c:pt>
                <c:pt idx="515">
                  <c:v>45180</c:v>
                </c:pt>
                <c:pt idx="516">
                  <c:v>45177</c:v>
                </c:pt>
                <c:pt idx="517">
                  <c:v>45176</c:v>
                </c:pt>
                <c:pt idx="518">
                  <c:v>45175</c:v>
                </c:pt>
                <c:pt idx="519">
                  <c:v>45174</c:v>
                </c:pt>
                <c:pt idx="520">
                  <c:v>45170</c:v>
                </c:pt>
                <c:pt idx="521">
                  <c:v>45169</c:v>
                </c:pt>
                <c:pt idx="522">
                  <c:v>45168</c:v>
                </c:pt>
                <c:pt idx="523">
                  <c:v>45167</c:v>
                </c:pt>
                <c:pt idx="524">
                  <c:v>45166</c:v>
                </c:pt>
                <c:pt idx="525">
                  <c:v>45163</c:v>
                </c:pt>
                <c:pt idx="526">
                  <c:v>45162</c:v>
                </c:pt>
                <c:pt idx="527">
                  <c:v>45161</c:v>
                </c:pt>
                <c:pt idx="528">
                  <c:v>45160</c:v>
                </c:pt>
                <c:pt idx="529">
                  <c:v>45159</c:v>
                </c:pt>
                <c:pt idx="530">
                  <c:v>45156</c:v>
                </c:pt>
                <c:pt idx="531">
                  <c:v>45155</c:v>
                </c:pt>
                <c:pt idx="532">
                  <c:v>45154</c:v>
                </c:pt>
                <c:pt idx="533">
                  <c:v>45153</c:v>
                </c:pt>
                <c:pt idx="534">
                  <c:v>45152</c:v>
                </c:pt>
                <c:pt idx="535">
                  <c:v>45149</c:v>
                </c:pt>
                <c:pt idx="536">
                  <c:v>45148</c:v>
                </c:pt>
                <c:pt idx="537">
                  <c:v>45147</c:v>
                </c:pt>
                <c:pt idx="538">
                  <c:v>45146</c:v>
                </c:pt>
                <c:pt idx="539">
                  <c:v>45145</c:v>
                </c:pt>
                <c:pt idx="540">
                  <c:v>45142</c:v>
                </c:pt>
                <c:pt idx="541">
                  <c:v>45141</c:v>
                </c:pt>
                <c:pt idx="542">
                  <c:v>45140</c:v>
                </c:pt>
                <c:pt idx="543">
                  <c:v>45139</c:v>
                </c:pt>
                <c:pt idx="544">
                  <c:v>45138</c:v>
                </c:pt>
                <c:pt idx="545">
                  <c:v>45135</c:v>
                </c:pt>
                <c:pt idx="546">
                  <c:v>45134</c:v>
                </c:pt>
                <c:pt idx="547">
                  <c:v>45133</c:v>
                </c:pt>
                <c:pt idx="548">
                  <c:v>45132</c:v>
                </c:pt>
                <c:pt idx="549">
                  <c:v>45131</c:v>
                </c:pt>
                <c:pt idx="550">
                  <c:v>45128</c:v>
                </c:pt>
                <c:pt idx="551">
                  <c:v>45127</c:v>
                </c:pt>
                <c:pt idx="552">
                  <c:v>45126</c:v>
                </c:pt>
                <c:pt idx="553">
                  <c:v>45125</c:v>
                </c:pt>
                <c:pt idx="554">
                  <c:v>45124</c:v>
                </c:pt>
                <c:pt idx="555">
                  <c:v>45121</c:v>
                </c:pt>
                <c:pt idx="556">
                  <c:v>45120</c:v>
                </c:pt>
                <c:pt idx="557">
                  <c:v>45119</c:v>
                </c:pt>
                <c:pt idx="558">
                  <c:v>45118</c:v>
                </c:pt>
                <c:pt idx="559">
                  <c:v>45117</c:v>
                </c:pt>
                <c:pt idx="560">
                  <c:v>45114</c:v>
                </c:pt>
                <c:pt idx="561">
                  <c:v>45113</c:v>
                </c:pt>
                <c:pt idx="562">
                  <c:v>45112</c:v>
                </c:pt>
                <c:pt idx="563">
                  <c:v>45111</c:v>
                </c:pt>
                <c:pt idx="564">
                  <c:v>45107</c:v>
                </c:pt>
                <c:pt idx="565">
                  <c:v>45106</c:v>
                </c:pt>
                <c:pt idx="566">
                  <c:v>45105</c:v>
                </c:pt>
                <c:pt idx="567">
                  <c:v>45104</c:v>
                </c:pt>
                <c:pt idx="568">
                  <c:v>45103</c:v>
                </c:pt>
                <c:pt idx="569">
                  <c:v>45100</c:v>
                </c:pt>
                <c:pt idx="570">
                  <c:v>45099</c:v>
                </c:pt>
                <c:pt idx="571">
                  <c:v>45098</c:v>
                </c:pt>
                <c:pt idx="572">
                  <c:v>45097</c:v>
                </c:pt>
                <c:pt idx="573">
                  <c:v>45093</c:v>
                </c:pt>
                <c:pt idx="574">
                  <c:v>45092</c:v>
                </c:pt>
                <c:pt idx="575">
                  <c:v>45091</c:v>
                </c:pt>
                <c:pt idx="576">
                  <c:v>45090</c:v>
                </c:pt>
                <c:pt idx="577">
                  <c:v>45089</c:v>
                </c:pt>
                <c:pt idx="578">
                  <c:v>45086</c:v>
                </c:pt>
                <c:pt idx="579">
                  <c:v>45085</c:v>
                </c:pt>
                <c:pt idx="580">
                  <c:v>45084</c:v>
                </c:pt>
                <c:pt idx="581">
                  <c:v>45083</c:v>
                </c:pt>
                <c:pt idx="582">
                  <c:v>45082</c:v>
                </c:pt>
                <c:pt idx="583">
                  <c:v>45079</c:v>
                </c:pt>
                <c:pt idx="584">
                  <c:v>45078</c:v>
                </c:pt>
                <c:pt idx="585">
                  <c:v>45077</c:v>
                </c:pt>
                <c:pt idx="586">
                  <c:v>45076</c:v>
                </c:pt>
                <c:pt idx="587">
                  <c:v>45072</c:v>
                </c:pt>
                <c:pt idx="588">
                  <c:v>45071</c:v>
                </c:pt>
                <c:pt idx="589">
                  <c:v>45070</c:v>
                </c:pt>
                <c:pt idx="590">
                  <c:v>45069</c:v>
                </c:pt>
                <c:pt idx="591">
                  <c:v>45068</c:v>
                </c:pt>
                <c:pt idx="592">
                  <c:v>45065</c:v>
                </c:pt>
                <c:pt idx="593">
                  <c:v>45064</c:v>
                </c:pt>
                <c:pt idx="594">
                  <c:v>45063</c:v>
                </c:pt>
                <c:pt idx="595">
                  <c:v>45062</c:v>
                </c:pt>
                <c:pt idx="596">
                  <c:v>45061</c:v>
                </c:pt>
                <c:pt idx="597">
                  <c:v>45058</c:v>
                </c:pt>
                <c:pt idx="598">
                  <c:v>45057</c:v>
                </c:pt>
                <c:pt idx="599">
                  <c:v>45056</c:v>
                </c:pt>
                <c:pt idx="600">
                  <c:v>45055</c:v>
                </c:pt>
                <c:pt idx="601">
                  <c:v>45054</c:v>
                </c:pt>
                <c:pt idx="602">
                  <c:v>45051</c:v>
                </c:pt>
                <c:pt idx="603">
                  <c:v>45050</c:v>
                </c:pt>
                <c:pt idx="604">
                  <c:v>45049</c:v>
                </c:pt>
                <c:pt idx="605">
                  <c:v>45048</c:v>
                </c:pt>
                <c:pt idx="606">
                  <c:v>45047</c:v>
                </c:pt>
                <c:pt idx="607">
                  <c:v>45044</c:v>
                </c:pt>
                <c:pt idx="608">
                  <c:v>45043</c:v>
                </c:pt>
                <c:pt idx="609">
                  <c:v>45042</c:v>
                </c:pt>
                <c:pt idx="610">
                  <c:v>45041</c:v>
                </c:pt>
                <c:pt idx="611">
                  <c:v>45040</c:v>
                </c:pt>
                <c:pt idx="612">
                  <c:v>45037</c:v>
                </c:pt>
                <c:pt idx="613">
                  <c:v>45036</c:v>
                </c:pt>
                <c:pt idx="614">
                  <c:v>45035</c:v>
                </c:pt>
                <c:pt idx="615">
                  <c:v>45034</c:v>
                </c:pt>
                <c:pt idx="616">
                  <c:v>45033</c:v>
                </c:pt>
                <c:pt idx="617">
                  <c:v>45030</c:v>
                </c:pt>
                <c:pt idx="618">
                  <c:v>45029</c:v>
                </c:pt>
                <c:pt idx="619">
                  <c:v>45028</c:v>
                </c:pt>
                <c:pt idx="620">
                  <c:v>45027</c:v>
                </c:pt>
                <c:pt idx="621">
                  <c:v>45026</c:v>
                </c:pt>
                <c:pt idx="622">
                  <c:v>45023</c:v>
                </c:pt>
                <c:pt idx="623">
                  <c:v>45022</c:v>
                </c:pt>
                <c:pt idx="624">
                  <c:v>45021</c:v>
                </c:pt>
                <c:pt idx="625">
                  <c:v>45020</c:v>
                </c:pt>
                <c:pt idx="626">
                  <c:v>45016</c:v>
                </c:pt>
                <c:pt idx="627">
                  <c:v>45015</c:v>
                </c:pt>
                <c:pt idx="628">
                  <c:v>45014</c:v>
                </c:pt>
                <c:pt idx="629">
                  <c:v>45013</c:v>
                </c:pt>
                <c:pt idx="630">
                  <c:v>45012</c:v>
                </c:pt>
                <c:pt idx="631">
                  <c:v>45009</c:v>
                </c:pt>
                <c:pt idx="632">
                  <c:v>45008</c:v>
                </c:pt>
                <c:pt idx="633">
                  <c:v>45007</c:v>
                </c:pt>
                <c:pt idx="634">
                  <c:v>45006</c:v>
                </c:pt>
                <c:pt idx="635">
                  <c:v>45005</c:v>
                </c:pt>
                <c:pt idx="636">
                  <c:v>45002</c:v>
                </c:pt>
                <c:pt idx="637">
                  <c:v>45001</c:v>
                </c:pt>
                <c:pt idx="638">
                  <c:v>45000</c:v>
                </c:pt>
                <c:pt idx="639">
                  <c:v>44999</c:v>
                </c:pt>
                <c:pt idx="640">
                  <c:v>44998</c:v>
                </c:pt>
                <c:pt idx="641">
                  <c:v>44995</c:v>
                </c:pt>
                <c:pt idx="642">
                  <c:v>44994</c:v>
                </c:pt>
                <c:pt idx="643">
                  <c:v>44993</c:v>
                </c:pt>
                <c:pt idx="644">
                  <c:v>44992</c:v>
                </c:pt>
                <c:pt idx="645">
                  <c:v>44991</c:v>
                </c:pt>
                <c:pt idx="646">
                  <c:v>44988</c:v>
                </c:pt>
                <c:pt idx="647">
                  <c:v>44987</c:v>
                </c:pt>
                <c:pt idx="648">
                  <c:v>44986</c:v>
                </c:pt>
                <c:pt idx="649">
                  <c:v>44985</c:v>
                </c:pt>
                <c:pt idx="650">
                  <c:v>44984</c:v>
                </c:pt>
                <c:pt idx="651">
                  <c:v>44981</c:v>
                </c:pt>
                <c:pt idx="652">
                  <c:v>44980</c:v>
                </c:pt>
                <c:pt idx="653">
                  <c:v>44979</c:v>
                </c:pt>
                <c:pt idx="654">
                  <c:v>44978</c:v>
                </c:pt>
                <c:pt idx="655">
                  <c:v>44974</c:v>
                </c:pt>
                <c:pt idx="656">
                  <c:v>44973</c:v>
                </c:pt>
                <c:pt idx="657">
                  <c:v>44972</c:v>
                </c:pt>
                <c:pt idx="658">
                  <c:v>44971</c:v>
                </c:pt>
                <c:pt idx="659">
                  <c:v>44970</c:v>
                </c:pt>
                <c:pt idx="660">
                  <c:v>44967</c:v>
                </c:pt>
                <c:pt idx="661">
                  <c:v>44966</c:v>
                </c:pt>
                <c:pt idx="662">
                  <c:v>44965</c:v>
                </c:pt>
                <c:pt idx="663">
                  <c:v>44964</c:v>
                </c:pt>
                <c:pt idx="664">
                  <c:v>44963</c:v>
                </c:pt>
                <c:pt idx="665">
                  <c:v>44960</c:v>
                </c:pt>
                <c:pt idx="666">
                  <c:v>44959</c:v>
                </c:pt>
                <c:pt idx="667">
                  <c:v>44958</c:v>
                </c:pt>
                <c:pt idx="668">
                  <c:v>44957</c:v>
                </c:pt>
                <c:pt idx="669">
                  <c:v>44956</c:v>
                </c:pt>
                <c:pt idx="670">
                  <c:v>44953</c:v>
                </c:pt>
                <c:pt idx="671">
                  <c:v>44952</c:v>
                </c:pt>
                <c:pt idx="672">
                  <c:v>44951</c:v>
                </c:pt>
                <c:pt idx="673">
                  <c:v>44950</c:v>
                </c:pt>
                <c:pt idx="674">
                  <c:v>44949</c:v>
                </c:pt>
                <c:pt idx="675">
                  <c:v>44946</c:v>
                </c:pt>
                <c:pt idx="676">
                  <c:v>44945</c:v>
                </c:pt>
                <c:pt idx="677">
                  <c:v>44944</c:v>
                </c:pt>
                <c:pt idx="678">
                  <c:v>44943</c:v>
                </c:pt>
                <c:pt idx="679">
                  <c:v>44939</c:v>
                </c:pt>
                <c:pt idx="680">
                  <c:v>44938</c:v>
                </c:pt>
                <c:pt idx="681">
                  <c:v>44937</c:v>
                </c:pt>
                <c:pt idx="682">
                  <c:v>44936</c:v>
                </c:pt>
                <c:pt idx="683">
                  <c:v>44935</c:v>
                </c:pt>
                <c:pt idx="684">
                  <c:v>44932</c:v>
                </c:pt>
                <c:pt idx="685">
                  <c:v>44931</c:v>
                </c:pt>
                <c:pt idx="686">
                  <c:v>44930</c:v>
                </c:pt>
                <c:pt idx="687">
                  <c:v>44929</c:v>
                </c:pt>
                <c:pt idx="688">
                  <c:v>44925</c:v>
                </c:pt>
                <c:pt idx="689">
                  <c:v>44924</c:v>
                </c:pt>
                <c:pt idx="690">
                  <c:v>44923</c:v>
                </c:pt>
                <c:pt idx="691">
                  <c:v>44922</c:v>
                </c:pt>
                <c:pt idx="692">
                  <c:v>44918</c:v>
                </c:pt>
                <c:pt idx="693">
                  <c:v>44917</c:v>
                </c:pt>
                <c:pt idx="694">
                  <c:v>44916</c:v>
                </c:pt>
                <c:pt idx="695">
                  <c:v>44915</c:v>
                </c:pt>
                <c:pt idx="696">
                  <c:v>44914</c:v>
                </c:pt>
                <c:pt idx="697">
                  <c:v>44911</c:v>
                </c:pt>
                <c:pt idx="698">
                  <c:v>44910</c:v>
                </c:pt>
                <c:pt idx="699">
                  <c:v>44909</c:v>
                </c:pt>
                <c:pt idx="700">
                  <c:v>44908</c:v>
                </c:pt>
                <c:pt idx="701">
                  <c:v>44907</c:v>
                </c:pt>
                <c:pt idx="702">
                  <c:v>44904</c:v>
                </c:pt>
                <c:pt idx="703">
                  <c:v>44903</c:v>
                </c:pt>
                <c:pt idx="704">
                  <c:v>44902</c:v>
                </c:pt>
                <c:pt idx="705">
                  <c:v>44901</c:v>
                </c:pt>
                <c:pt idx="706">
                  <c:v>44900</c:v>
                </c:pt>
                <c:pt idx="707">
                  <c:v>44897</c:v>
                </c:pt>
                <c:pt idx="708">
                  <c:v>44896</c:v>
                </c:pt>
                <c:pt idx="709">
                  <c:v>44895</c:v>
                </c:pt>
                <c:pt idx="710">
                  <c:v>44894</c:v>
                </c:pt>
                <c:pt idx="711">
                  <c:v>44893</c:v>
                </c:pt>
                <c:pt idx="712">
                  <c:v>44890</c:v>
                </c:pt>
                <c:pt idx="713">
                  <c:v>44888</c:v>
                </c:pt>
                <c:pt idx="714">
                  <c:v>44887</c:v>
                </c:pt>
                <c:pt idx="715">
                  <c:v>44886</c:v>
                </c:pt>
                <c:pt idx="716">
                  <c:v>44883</c:v>
                </c:pt>
                <c:pt idx="717">
                  <c:v>44882</c:v>
                </c:pt>
                <c:pt idx="718">
                  <c:v>44881</c:v>
                </c:pt>
                <c:pt idx="719">
                  <c:v>44880</c:v>
                </c:pt>
                <c:pt idx="720">
                  <c:v>44879</c:v>
                </c:pt>
                <c:pt idx="721">
                  <c:v>44876</c:v>
                </c:pt>
                <c:pt idx="722">
                  <c:v>44875</c:v>
                </c:pt>
                <c:pt idx="723">
                  <c:v>44874</c:v>
                </c:pt>
                <c:pt idx="724">
                  <c:v>44873</c:v>
                </c:pt>
                <c:pt idx="725">
                  <c:v>44872</c:v>
                </c:pt>
                <c:pt idx="726">
                  <c:v>44869</c:v>
                </c:pt>
                <c:pt idx="727">
                  <c:v>44868</c:v>
                </c:pt>
                <c:pt idx="728">
                  <c:v>44867</c:v>
                </c:pt>
                <c:pt idx="729">
                  <c:v>44866</c:v>
                </c:pt>
                <c:pt idx="730">
                  <c:v>44865</c:v>
                </c:pt>
                <c:pt idx="731">
                  <c:v>44862</c:v>
                </c:pt>
                <c:pt idx="732">
                  <c:v>44861</c:v>
                </c:pt>
                <c:pt idx="733">
                  <c:v>44860</c:v>
                </c:pt>
                <c:pt idx="734">
                  <c:v>44859</c:v>
                </c:pt>
                <c:pt idx="735">
                  <c:v>44858</c:v>
                </c:pt>
                <c:pt idx="736">
                  <c:v>44855</c:v>
                </c:pt>
                <c:pt idx="737">
                  <c:v>44854</c:v>
                </c:pt>
                <c:pt idx="738">
                  <c:v>44853</c:v>
                </c:pt>
                <c:pt idx="739">
                  <c:v>44852</c:v>
                </c:pt>
                <c:pt idx="740">
                  <c:v>44851</c:v>
                </c:pt>
                <c:pt idx="741">
                  <c:v>44848</c:v>
                </c:pt>
                <c:pt idx="742">
                  <c:v>44847</c:v>
                </c:pt>
                <c:pt idx="743">
                  <c:v>44846</c:v>
                </c:pt>
                <c:pt idx="744">
                  <c:v>44845</c:v>
                </c:pt>
                <c:pt idx="745">
                  <c:v>44844</c:v>
                </c:pt>
                <c:pt idx="746">
                  <c:v>44841</c:v>
                </c:pt>
                <c:pt idx="747">
                  <c:v>44840</c:v>
                </c:pt>
                <c:pt idx="748">
                  <c:v>44839</c:v>
                </c:pt>
                <c:pt idx="749">
                  <c:v>44838</c:v>
                </c:pt>
                <c:pt idx="750">
                  <c:v>44837</c:v>
                </c:pt>
                <c:pt idx="751">
                  <c:v>44834</c:v>
                </c:pt>
                <c:pt idx="752">
                  <c:v>44833</c:v>
                </c:pt>
                <c:pt idx="753">
                  <c:v>44832</c:v>
                </c:pt>
                <c:pt idx="754">
                  <c:v>44831</c:v>
                </c:pt>
                <c:pt idx="755">
                  <c:v>44830</c:v>
                </c:pt>
                <c:pt idx="756">
                  <c:v>44827</c:v>
                </c:pt>
                <c:pt idx="757">
                  <c:v>44826</c:v>
                </c:pt>
                <c:pt idx="758">
                  <c:v>44825</c:v>
                </c:pt>
                <c:pt idx="759">
                  <c:v>44824</c:v>
                </c:pt>
                <c:pt idx="760">
                  <c:v>44823</c:v>
                </c:pt>
                <c:pt idx="761">
                  <c:v>44820</c:v>
                </c:pt>
                <c:pt idx="762">
                  <c:v>44819</c:v>
                </c:pt>
                <c:pt idx="763">
                  <c:v>44818</c:v>
                </c:pt>
                <c:pt idx="764">
                  <c:v>44817</c:v>
                </c:pt>
                <c:pt idx="765">
                  <c:v>44816</c:v>
                </c:pt>
                <c:pt idx="766">
                  <c:v>44813</c:v>
                </c:pt>
                <c:pt idx="767">
                  <c:v>44812</c:v>
                </c:pt>
                <c:pt idx="768">
                  <c:v>44811</c:v>
                </c:pt>
                <c:pt idx="769">
                  <c:v>44810</c:v>
                </c:pt>
                <c:pt idx="770">
                  <c:v>44806</c:v>
                </c:pt>
                <c:pt idx="771">
                  <c:v>44805</c:v>
                </c:pt>
                <c:pt idx="772">
                  <c:v>44804</c:v>
                </c:pt>
                <c:pt idx="773">
                  <c:v>44803</c:v>
                </c:pt>
                <c:pt idx="774">
                  <c:v>44802</c:v>
                </c:pt>
                <c:pt idx="775">
                  <c:v>44799</c:v>
                </c:pt>
                <c:pt idx="776">
                  <c:v>44798</c:v>
                </c:pt>
                <c:pt idx="777">
                  <c:v>44797</c:v>
                </c:pt>
                <c:pt idx="778">
                  <c:v>44796</c:v>
                </c:pt>
                <c:pt idx="779">
                  <c:v>44795</c:v>
                </c:pt>
                <c:pt idx="780">
                  <c:v>44792</c:v>
                </c:pt>
                <c:pt idx="781">
                  <c:v>44791</c:v>
                </c:pt>
                <c:pt idx="782">
                  <c:v>44790</c:v>
                </c:pt>
                <c:pt idx="783">
                  <c:v>44789</c:v>
                </c:pt>
                <c:pt idx="784">
                  <c:v>44788</c:v>
                </c:pt>
                <c:pt idx="785">
                  <c:v>44785</c:v>
                </c:pt>
                <c:pt idx="786">
                  <c:v>44784</c:v>
                </c:pt>
                <c:pt idx="787">
                  <c:v>44783</c:v>
                </c:pt>
                <c:pt idx="788">
                  <c:v>44782</c:v>
                </c:pt>
                <c:pt idx="789">
                  <c:v>44781</c:v>
                </c:pt>
                <c:pt idx="790">
                  <c:v>44778</c:v>
                </c:pt>
                <c:pt idx="791">
                  <c:v>44777</c:v>
                </c:pt>
                <c:pt idx="792">
                  <c:v>44776</c:v>
                </c:pt>
                <c:pt idx="793">
                  <c:v>44775</c:v>
                </c:pt>
                <c:pt idx="794">
                  <c:v>44774</c:v>
                </c:pt>
                <c:pt idx="795">
                  <c:v>44771</c:v>
                </c:pt>
                <c:pt idx="796">
                  <c:v>44770</c:v>
                </c:pt>
                <c:pt idx="797">
                  <c:v>44769</c:v>
                </c:pt>
                <c:pt idx="798">
                  <c:v>44768</c:v>
                </c:pt>
                <c:pt idx="799">
                  <c:v>44767</c:v>
                </c:pt>
                <c:pt idx="800">
                  <c:v>44764</c:v>
                </c:pt>
                <c:pt idx="801">
                  <c:v>44763</c:v>
                </c:pt>
                <c:pt idx="802">
                  <c:v>44762</c:v>
                </c:pt>
                <c:pt idx="803">
                  <c:v>44761</c:v>
                </c:pt>
                <c:pt idx="804">
                  <c:v>44760</c:v>
                </c:pt>
                <c:pt idx="805">
                  <c:v>44757</c:v>
                </c:pt>
                <c:pt idx="806">
                  <c:v>44756</c:v>
                </c:pt>
                <c:pt idx="807">
                  <c:v>44755</c:v>
                </c:pt>
                <c:pt idx="808">
                  <c:v>44754</c:v>
                </c:pt>
                <c:pt idx="809">
                  <c:v>44753</c:v>
                </c:pt>
                <c:pt idx="810">
                  <c:v>44750</c:v>
                </c:pt>
                <c:pt idx="811">
                  <c:v>44749</c:v>
                </c:pt>
                <c:pt idx="812">
                  <c:v>44748</c:v>
                </c:pt>
                <c:pt idx="813">
                  <c:v>44747</c:v>
                </c:pt>
                <c:pt idx="814">
                  <c:v>44743</c:v>
                </c:pt>
                <c:pt idx="815">
                  <c:v>44742</c:v>
                </c:pt>
                <c:pt idx="816">
                  <c:v>44741</c:v>
                </c:pt>
                <c:pt idx="817">
                  <c:v>44740</c:v>
                </c:pt>
                <c:pt idx="818">
                  <c:v>44739</c:v>
                </c:pt>
                <c:pt idx="819">
                  <c:v>44736</c:v>
                </c:pt>
                <c:pt idx="820">
                  <c:v>44735</c:v>
                </c:pt>
                <c:pt idx="821">
                  <c:v>44734</c:v>
                </c:pt>
                <c:pt idx="822">
                  <c:v>44733</c:v>
                </c:pt>
                <c:pt idx="823">
                  <c:v>44732</c:v>
                </c:pt>
                <c:pt idx="824">
                  <c:v>44729</c:v>
                </c:pt>
                <c:pt idx="825">
                  <c:v>44728</c:v>
                </c:pt>
                <c:pt idx="826">
                  <c:v>44727</c:v>
                </c:pt>
                <c:pt idx="827">
                  <c:v>44726</c:v>
                </c:pt>
                <c:pt idx="828">
                  <c:v>44725</c:v>
                </c:pt>
                <c:pt idx="829">
                  <c:v>44722</c:v>
                </c:pt>
                <c:pt idx="830">
                  <c:v>44721</c:v>
                </c:pt>
                <c:pt idx="831">
                  <c:v>44720</c:v>
                </c:pt>
                <c:pt idx="832">
                  <c:v>44719</c:v>
                </c:pt>
                <c:pt idx="833">
                  <c:v>44718</c:v>
                </c:pt>
                <c:pt idx="834">
                  <c:v>44714</c:v>
                </c:pt>
                <c:pt idx="835">
                  <c:v>44713</c:v>
                </c:pt>
                <c:pt idx="836">
                  <c:v>44712</c:v>
                </c:pt>
                <c:pt idx="837">
                  <c:v>44708</c:v>
                </c:pt>
                <c:pt idx="838">
                  <c:v>44707</c:v>
                </c:pt>
                <c:pt idx="839">
                  <c:v>44706</c:v>
                </c:pt>
                <c:pt idx="840">
                  <c:v>44705</c:v>
                </c:pt>
                <c:pt idx="841">
                  <c:v>44704</c:v>
                </c:pt>
                <c:pt idx="842">
                  <c:v>44701</c:v>
                </c:pt>
                <c:pt idx="843">
                  <c:v>44700</c:v>
                </c:pt>
                <c:pt idx="844">
                  <c:v>44699</c:v>
                </c:pt>
                <c:pt idx="845">
                  <c:v>44698</c:v>
                </c:pt>
                <c:pt idx="846">
                  <c:v>44697</c:v>
                </c:pt>
                <c:pt idx="847">
                  <c:v>44694</c:v>
                </c:pt>
                <c:pt idx="848">
                  <c:v>44693</c:v>
                </c:pt>
                <c:pt idx="849">
                  <c:v>44692</c:v>
                </c:pt>
                <c:pt idx="850">
                  <c:v>44691</c:v>
                </c:pt>
                <c:pt idx="851">
                  <c:v>44690</c:v>
                </c:pt>
                <c:pt idx="852">
                  <c:v>44687</c:v>
                </c:pt>
                <c:pt idx="853">
                  <c:v>44686</c:v>
                </c:pt>
                <c:pt idx="854">
                  <c:v>44685</c:v>
                </c:pt>
                <c:pt idx="855">
                  <c:v>44684</c:v>
                </c:pt>
                <c:pt idx="856">
                  <c:v>44683</c:v>
                </c:pt>
                <c:pt idx="857">
                  <c:v>44680</c:v>
                </c:pt>
                <c:pt idx="858">
                  <c:v>44679</c:v>
                </c:pt>
                <c:pt idx="859">
                  <c:v>44678</c:v>
                </c:pt>
                <c:pt idx="860">
                  <c:v>44677</c:v>
                </c:pt>
                <c:pt idx="861">
                  <c:v>44676</c:v>
                </c:pt>
                <c:pt idx="862">
                  <c:v>44673</c:v>
                </c:pt>
                <c:pt idx="863">
                  <c:v>44672</c:v>
                </c:pt>
                <c:pt idx="864">
                  <c:v>44671</c:v>
                </c:pt>
                <c:pt idx="865">
                  <c:v>44670</c:v>
                </c:pt>
                <c:pt idx="866">
                  <c:v>44669</c:v>
                </c:pt>
                <c:pt idx="867">
                  <c:v>44665</c:v>
                </c:pt>
                <c:pt idx="868">
                  <c:v>44664</c:v>
                </c:pt>
                <c:pt idx="869">
                  <c:v>44663</c:v>
                </c:pt>
                <c:pt idx="870">
                  <c:v>44662</c:v>
                </c:pt>
                <c:pt idx="871">
                  <c:v>44659</c:v>
                </c:pt>
                <c:pt idx="872">
                  <c:v>44658</c:v>
                </c:pt>
                <c:pt idx="873">
                  <c:v>44657</c:v>
                </c:pt>
                <c:pt idx="874">
                  <c:v>44656</c:v>
                </c:pt>
                <c:pt idx="875">
                  <c:v>44655</c:v>
                </c:pt>
                <c:pt idx="876">
                  <c:v>44652</c:v>
                </c:pt>
                <c:pt idx="877">
                  <c:v>44651</c:v>
                </c:pt>
                <c:pt idx="878">
                  <c:v>44650</c:v>
                </c:pt>
                <c:pt idx="879">
                  <c:v>44649</c:v>
                </c:pt>
                <c:pt idx="880">
                  <c:v>44648</c:v>
                </c:pt>
                <c:pt idx="881">
                  <c:v>44645</c:v>
                </c:pt>
                <c:pt idx="882">
                  <c:v>44644</c:v>
                </c:pt>
                <c:pt idx="883">
                  <c:v>44643</c:v>
                </c:pt>
                <c:pt idx="884">
                  <c:v>44642</c:v>
                </c:pt>
                <c:pt idx="885">
                  <c:v>44641</c:v>
                </c:pt>
                <c:pt idx="886">
                  <c:v>44638</c:v>
                </c:pt>
                <c:pt idx="887">
                  <c:v>44637</c:v>
                </c:pt>
                <c:pt idx="888">
                  <c:v>44636</c:v>
                </c:pt>
                <c:pt idx="889">
                  <c:v>44635</c:v>
                </c:pt>
                <c:pt idx="890">
                  <c:v>44634</c:v>
                </c:pt>
                <c:pt idx="891">
                  <c:v>44631</c:v>
                </c:pt>
                <c:pt idx="892">
                  <c:v>44630</c:v>
                </c:pt>
                <c:pt idx="893">
                  <c:v>44629</c:v>
                </c:pt>
                <c:pt idx="894">
                  <c:v>44628</c:v>
                </c:pt>
                <c:pt idx="895">
                  <c:v>44627</c:v>
                </c:pt>
                <c:pt idx="896">
                  <c:v>44624</c:v>
                </c:pt>
                <c:pt idx="897">
                  <c:v>44623</c:v>
                </c:pt>
                <c:pt idx="898">
                  <c:v>44622</c:v>
                </c:pt>
                <c:pt idx="899">
                  <c:v>44621</c:v>
                </c:pt>
                <c:pt idx="900">
                  <c:v>44620</c:v>
                </c:pt>
                <c:pt idx="901">
                  <c:v>44617</c:v>
                </c:pt>
                <c:pt idx="902">
                  <c:v>44616</c:v>
                </c:pt>
                <c:pt idx="903">
                  <c:v>44615</c:v>
                </c:pt>
                <c:pt idx="904">
                  <c:v>44614</c:v>
                </c:pt>
                <c:pt idx="905">
                  <c:v>44610</c:v>
                </c:pt>
                <c:pt idx="906">
                  <c:v>44609</c:v>
                </c:pt>
                <c:pt idx="907">
                  <c:v>44608</c:v>
                </c:pt>
                <c:pt idx="908">
                  <c:v>44607</c:v>
                </c:pt>
                <c:pt idx="909">
                  <c:v>44606</c:v>
                </c:pt>
                <c:pt idx="910">
                  <c:v>44603</c:v>
                </c:pt>
                <c:pt idx="911">
                  <c:v>44602</c:v>
                </c:pt>
                <c:pt idx="912">
                  <c:v>44601</c:v>
                </c:pt>
                <c:pt idx="913">
                  <c:v>44600</c:v>
                </c:pt>
                <c:pt idx="914">
                  <c:v>44599</c:v>
                </c:pt>
                <c:pt idx="915">
                  <c:v>44596</c:v>
                </c:pt>
                <c:pt idx="916">
                  <c:v>44595</c:v>
                </c:pt>
                <c:pt idx="917">
                  <c:v>44594</c:v>
                </c:pt>
                <c:pt idx="918">
                  <c:v>44593</c:v>
                </c:pt>
                <c:pt idx="919">
                  <c:v>44592</c:v>
                </c:pt>
                <c:pt idx="920">
                  <c:v>44589</c:v>
                </c:pt>
                <c:pt idx="921">
                  <c:v>44588</c:v>
                </c:pt>
                <c:pt idx="922">
                  <c:v>44587</c:v>
                </c:pt>
                <c:pt idx="923">
                  <c:v>44586</c:v>
                </c:pt>
                <c:pt idx="924">
                  <c:v>44585</c:v>
                </c:pt>
                <c:pt idx="925">
                  <c:v>44582</c:v>
                </c:pt>
                <c:pt idx="926">
                  <c:v>44581</c:v>
                </c:pt>
                <c:pt idx="927">
                  <c:v>44580</c:v>
                </c:pt>
                <c:pt idx="928">
                  <c:v>44579</c:v>
                </c:pt>
                <c:pt idx="929">
                  <c:v>44575</c:v>
                </c:pt>
                <c:pt idx="930">
                  <c:v>44574</c:v>
                </c:pt>
                <c:pt idx="931">
                  <c:v>44573</c:v>
                </c:pt>
                <c:pt idx="932">
                  <c:v>44572</c:v>
                </c:pt>
                <c:pt idx="933">
                  <c:v>44571</c:v>
                </c:pt>
                <c:pt idx="934">
                  <c:v>44568</c:v>
                </c:pt>
                <c:pt idx="935">
                  <c:v>44567</c:v>
                </c:pt>
                <c:pt idx="936">
                  <c:v>44566</c:v>
                </c:pt>
                <c:pt idx="937">
                  <c:v>44565</c:v>
                </c:pt>
                <c:pt idx="938">
                  <c:v>44564</c:v>
                </c:pt>
                <c:pt idx="939">
                  <c:v>44561</c:v>
                </c:pt>
                <c:pt idx="940">
                  <c:v>44560</c:v>
                </c:pt>
                <c:pt idx="941">
                  <c:v>44559</c:v>
                </c:pt>
                <c:pt idx="942">
                  <c:v>44558</c:v>
                </c:pt>
                <c:pt idx="943">
                  <c:v>44557</c:v>
                </c:pt>
                <c:pt idx="944">
                  <c:v>44553</c:v>
                </c:pt>
                <c:pt idx="945">
                  <c:v>44552</c:v>
                </c:pt>
                <c:pt idx="946">
                  <c:v>44551</c:v>
                </c:pt>
                <c:pt idx="947">
                  <c:v>44550</c:v>
                </c:pt>
                <c:pt idx="948">
                  <c:v>44547</c:v>
                </c:pt>
                <c:pt idx="949">
                  <c:v>44546</c:v>
                </c:pt>
                <c:pt idx="950">
                  <c:v>44545</c:v>
                </c:pt>
                <c:pt idx="951">
                  <c:v>44544</c:v>
                </c:pt>
                <c:pt idx="952">
                  <c:v>44543</c:v>
                </c:pt>
                <c:pt idx="953">
                  <c:v>44540</c:v>
                </c:pt>
                <c:pt idx="954">
                  <c:v>44539</c:v>
                </c:pt>
                <c:pt idx="955">
                  <c:v>44538</c:v>
                </c:pt>
                <c:pt idx="956">
                  <c:v>44537</c:v>
                </c:pt>
                <c:pt idx="957">
                  <c:v>44536</c:v>
                </c:pt>
                <c:pt idx="958">
                  <c:v>44533</c:v>
                </c:pt>
                <c:pt idx="959">
                  <c:v>44532</c:v>
                </c:pt>
                <c:pt idx="960">
                  <c:v>44531</c:v>
                </c:pt>
                <c:pt idx="961">
                  <c:v>44530</c:v>
                </c:pt>
                <c:pt idx="962">
                  <c:v>44529</c:v>
                </c:pt>
                <c:pt idx="963">
                  <c:v>44526</c:v>
                </c:pt>
                <c:pt idx="964">
                  <c:v>44524</c:v>
                </c:pt>
                <c:pt idx="965">
                  <c:v>44523</c:v>
                </c:pt>
                <c:pt idx="966">
                  <c:v>44522</c:v>
                </c:pt>
                <c:pt idx="967">
                  <c:v>44519</c:v>
                </c:pt>
                <c:pt idx="968">
                  <c:v>44518</c:v>
                </c:pt>
                <c:pt idx="969">
                  <c:v>44517</c:v>
                </c:pt>
                <c:pt idx="970">
                  <c:v>44516</c:v>
                </c:pt>
                <c:pt idx="971">
                  <c:v>44515</c:v>
                </c:pt>
                <c:pt idx="972">
                  <c:v>44512</c:v>
                </c:pt>
                <c:pt idx="973">
                  <c:v>44511</c:v>
                </c:pt>
                <c:pt idx="974">
                  <c:v>44510</c:v>
                </c:pt>
                <c:pt idx="975">
                  <c:v>44509</c:v>
                </c:pt>
                <c:pt idx="976">
                  <c:v>44508</c:v>
                </c:pt>
                <c:pt idx="977">
                  <c:v>44505</c:v>
                </c:pt>
                <c:pt idx="978">
                  <c:v>44504</c:v>
                </c:pt>
                <c:pt idx="979">
                  <c:v>44503</c:v>
                </c:pt>
                <c:pt idx="980">
                  <c:v>44502</c:v>
                </c:pt>
                <c:pt idx="981">
                  <c:v>44501</c:v>
                </c:pt>
                <c:pt idx="982">
                  <c:v>44498</c:v>
                </c:pt>
                <c:pt idx="983">
                  <c:v>44497</c:v>
                </c:pt>
                <c:pt idx="984">
                  <c:v>44496</c:v>
                </c:pt>
                <c:pt idx="985">
                  <c:v>44495</c:v>
                </c:pt>
                <c:pt idx="986">
                  <c:v>44494</c:v>
                </c:pt>
                <c:pt idx="987">
                  <c:v>44491</c:v>
                </c:pt>
                <c:pt idx="988">
                  <c:v>44490</c:v>
                </c:pt>
                <c:pt idx="989">
                  <c:v>44489</c:v>
                </c:pt>
                <c:pt idx="990">
                  <c:v>44488</c:v>
                </c:pt>
                <c:pt idx="991">
                  <c:v>44487</c:v>
                </c:pt>
                <c:pt idx="992">
                  <c:v>44484</c:v>
                </c:pt>
                <c:pt idx="993">
                  <c:v>44483</c:v>
                </c:pt>
                <c:pt idx="994">
                  <c:v>44482</c:v>
                </c:pt>
                <c:pt idx="995">
                  <c:v>44481</c:v>
                </c:pt>
                <c:pt idx="996">
                  <c:v>44480</c:v>
                </c:pt>
                <c:pt idx="997">
                  <c:v>44477</c:v>
                </c:pt>
                <c:pt idx="998">
                  <c:v>44476</c:v>
                </c:pt>
                <c:pt idx="999">
                  <c:v>44475</c:v>
                </c:pt>
                <c:pt idx="1000">
                  <c:v>44474</c:v>
                </c:pt>
                <c:pt idx="1001">
                  <c:v>44473</c:v>
                </c:pt>
                <c:pt idx="1002">
                  <c:v>44470</c:v>
                </c:pt>
                <c:pt idx="1003">
                  <c:v>44469</c:v>
                </c:pt>
                <c:pt idx="1004">
                  <c:v>44468</c:v>
                </c:pt>
                <c:pt idx="1005">
                  <c:v>44467</c:v>
                </c:pt>
                <c:pt idx="1006">
                  <c:v>44466</c:v>
                </c:pt>
                <c:pt idx="1007">
                  <c:v>44463</c:v>
                </c:pt>
                <c:pt idx="1008">
                  <c:v>44462</c:v>
                </c:pt>
                <c:pt idx="1009">
                  <c:v>44461</c:v>
                </c:pt>
                <c:pt idx="1010">
                  <c:v>44460</c:v>
                </c:pt>
                <c:pt idx="1011">
                  <c:v>44459</c:v>
                </c:pt>
                <c:pt idx="1012">
                  <c:v>44456</c:v>
                </c:pt>
                <c:pt idx="1013">
                  <c:v>44455</c:v>
                </c:pt>
                <c:pt idx="1014">
                  <c:v>44454</c:v>
                </c:pt>
                <c:pt idx="1015">
                  <c:v>44453</c:v>
                </c:pt>
                <c:pt idx="1016">
                  <c:v>44452</c:v>
                </c:pt>
                <c:pt idx="1017">
                  <c:v>44449</c:v>
                </c:pt>
                <c:pt idx="1018">
                  <c:v>44448</c:v>
                </c:pt>
                <c:pt idx="1019">
                  <c:v>44447</c:v>
                </c:pt>
                <c:pt idx="1020">
                  <c:v>44446</c:v>
                </c:pt>
              </c:numCache>
            </c:numRef>
          </c:cat>
          <c:val>
            <c:numRef>
              <c:f>'Graph '!$R$2:$R$1022</c:f>
              <c:numCache>
                <c:formatCode>0%</c:formatCode>
                <c:ptCount val="1021"/>
                <c:pt idx="0">
                  <c:v>0.31426051900004048</c:v>
                </c:pt>
                <c:pt idx="1">
                  <c:v>0.3088940533811777</c:v>
                </c:pt>
                <c:pt idx="2">
                  <c:v>0.30562997843508999</c:v>
                </c:pt>
                <c:pt idx="3">
                  <c:v>0.29874662134197738</c:v>
                </c:pt>
                <c:pt idx="4">
                  <c:v>0.30527298627334409</c:v>
                </c:pt>
                <c:pt idx="5">
                  <c:v>0.31090989883834896</c:v>
                </c:pt>
                <c:pt idx="6">
                  <c:v>0.31591035819950708</c:v>
                </c:pt>
                <c:pt idx="7">
                  <c:v>0.30975451199313953</c:v>
                </c:pt>
                <c:pt idx="8">
                  <c:v>0.30766225238931666</c:v>
                </c:pt>
                <c:pt idx="9">
                  <c:v>0.30219304161453553</c:v>
                </c:pt>
                <c:pt idx="10">
                  <c:v>0.30336607107850622</c:v>
                </c:pt>
                <c:pt idx="11">
                  <c:v>0.3046707418203265</c:v>
                </c:pt>
                <c:pt idx="12">
                  <c:v>0.29624514835601246</c:v>
                </c:pt>
                <c:pt idx="13">
                  <c:v>0.29819243701152964</c:v>
                </c:pt>
                <c:pt idx="14">
                  <c:v>0.28559361954003726</c:v>
                </c:pt>
                <c:pt idx="15">
                  <c:v>0.2827715221912166</c:v>
                </c:pt>
                <c:pt idx="16">
                  <c:v>0.28085024682098503</c:v>
                </c:pt>
                <c:pt idx="17">
                  <c:v>0.2747315354508213</c:v>
                </c:pt>
                <c:pt idx="18">
                  <c:v>0.27358530867301578</c:v>
                </c:pt>
                <c:pt idx="19">
                  <c:v>0.26510907785141136</c:v>
                </c:pt>
                <c:pt idx="20">
                  <c:v>0.25981784291118437</c:v>
                </c:pt>
                <c:pt idx="21">
                  <c:v>0.26869873404953104</c:v>
                </c:pt>
                <c:pt idx="22">
                  <c:v>0.27610011471487739</c:v>
                </c:pt>
                <c:pt idx="23">
                  <c:v>0.27101605051282607</c:v>
                </c:pt>
                <c:pt idx="24">
                  <c:v>0.27050784737387668</c:v>
                </c:pt>
                <c:pt idx="25">
                  <c:v>0.26784537209248249</c:v>
                </c:pt>
                <c:pt idx="26">
                  <c:v>0.27614028393807999</c:v>
                </c:pt>
                <c:pt idx="27">
                  <c:v>0.25542575891596653</c:v>
                </c:pt>
                <c:pt idx="28">
                  <c:v>0.26021457429830019</c:v>
                </c:pt>
                <c:pt idx="29">
                  <c:v>0.26160233686885603</c:v>
                </c:pt>
                <c:pt idx="30">
                  <c:v>0.26832445648824366</c:v>
                </c:pt>
                <c:pt idx="31">
                  <c:v>0.26807084231977973</c:v>
                </c:pt>
                <c:pt idx="32">
                  <c:v>0.26781727886400697</c:v>
                </c:pt>
                <c:pt idx="33">
                  <c:v>0.26984903732372501</c:v>
                </c:pt>
                <c:pt idx="34">
                  <c:v>0.26403447872160579</c:v>
                </c:pt>
                <c:pt idx="35">
                  <c:v>0.25040506352913838</c:v>
                </c:pt>
                <c:pt idx="36">
                  <c:v>0.25379029733193459</c:v>
                </c:pt>
                <c:pt idx="37">
                  <c:v>0.24643632302608065</c:v>
                </c:pt>
                <c:pt idx="38">
                  <c:v>0.24345203813455774</c:v>
                </c:pt>
                <c:pt idx="39">
                  <c:v>0.2341955713494368</c:v>
                </c:pt>
                <c:pt idx="40">
                  <c:v>0.23766102221162932</c:v>
                </c:pt>
                <c:pt idx="41">
                  <c:v>0.22009170170704784</c:v>
                </c:pt>
                <c:pt idx="42">
                  <c:v>0.23566103069378941</c:v>
                </c:pt>
                <c:pt idx="43">
                  <c:v>0.24187038260682359</c:v>
                </c:pt>
                <c:pt idx="44">
                  <c:v>0.24610714690630497</c:v>
                </c:pt>
                <c:pt idx="45">
                  <c:v>0.24835418443829393</c:v>
                </c:pt>
                <c:pt idx="46">
                  <c:v>0.25399717171099323</c:v>
                </c:pt>
                <c:pt idx="47">
                  <c:v>0.25161909542967686</c:v>
                </c:pt>
                <c:pt idx="48">
                  <c:v>0.25412735012993681</c:v>
                </c:pt>
                <c:pt idx="49">
                  <c:v>0.2393787430871992</c:v>
                </c:pt>
                <c:pt idx="50">
                  <c:v>0.23727537494978446</c:v>
                </c:pt>
                <c:pt idx="51">
                  <c:v>0.2336976517596816</c:v>
                </c:pt>
                <c:pt idx="52">
                  <c:v>0.23468540007974537</c:v>
                </c:pt>
                <c:pt idx="53">
                  <c:v>0.22976633474078234</c:v>
                </c:pt>
                <c:pt idx="54">
                  <c:v>0.22498887811612933</c:v>
                </c:pt>
                <c:pt idx="55">
                  <c:v>0.2301555313477901</c:v>
                </c:pt>
                <c:pt idx="56">
                  <c:v>0.2284357213379169</c:v>
                </c:pt>
                <c:pt idx="57">
                  <c:v>0.23460876516373563</c:v>
                </c:pt>
                <c:pt idx="58">
                  <c:v>0.23202151997179477</c:v>
                </c:pt>
                <c:pt idx="59">
                  <c:v>0.22540433655440095</c:v>
                </c:pt>
                <c:pt idx="60">
                  <c:v>0.22332468459059696</c:v>
                </c:pt>
                <c:pt idx="61">
                  <c:v>0.23406101542479263</c:v>
                </c:pt>
                <c:pt idx="62">
                  <c:v>0.22706673503509256</c:v>
                </c:pt>
                <c:pt idx="63">
                  <c:v>0.22217802294331923</c:v>
                </c:pt>
                <c:pt idx="64">
                  <c:v>0.22278941765214522</c:v>
                </c:pt>
                <c:pt idx="65">
                  <c:v>0.21743271371181327</c:v>
                </c:pt>
                <c:pt idx="66">
                  <c:v>0.21197880907099376</c:v>
                </c:pt>
                <c:pt idx="67">
                  <c:v>0.20188299193870862</c:v>
                </c:pt>
                <c:pt idx="68">
                  <c:v>0.20272489936826643</c:v>
                </c:pt>
                <c:pt idx="69">
                  <c:v>0.18705576329280138</c:v>
                </c:pt>
                <c:pt idx="70">
                  <c:v>0.17646755529514513</c:v>
                </c:pt>
                <c:pt idx="71">
                  <c:v>0.18166688960942645</c:v>
                </c:pt>
                <c:pt idx="72">
                  <c:v>0.18131249586066822</c:v>
                </c:pt>
                <c:pt idx="73">
                  <c:v>0.19336548728221858</c:v>
                </c:pt>
                <c:pt idx="74">
                  <c:v>0.19217331396825044</c:v>
                </c:pt>
                <c:pt idx="75">
                  <c:v>0.20604280624001059</c:v>
                </c:pt>
                <c:pt idx="76">
                  <c:v>0.20123785482072765</c:v>
                </c:pt>
                <c:pt idx="77">
                  <c:v>0.20280149676652415</c:v>
                </c:pt>
                <c:pt idx="78">
                  <c:v>0.19705562974375423</c:v>
                </c:pt>
                <c:pt idx="79">
                  <c:v>0.19550147782258476</c:v>
                </c:pt>
                <c:pt idx="80">
                  <c:v>0.1863664561105336</c:v>
                </c:pt>
                <c:pt idx="81">
                  <c:v>0.1899362649052494</c:v>
                </c:pt>
                <c:pt idx="82">
                  <c:v>0.18685045372556308</c:v>
                </c:pt>
                <c:pt idx="83">
                  <c:v>0.18424511447372094</c:v>
                </c:pt>
                <c:pt idx="84">
                  <c:v>0.17554607352960172</c:v>
                </c:pt>
                <c:pt idx="85">
                  <c:v>0.17801991535184047</c:v>
                </c:pt>
                <c:pt idx="86">
                  <c:v>0.17379425603013199</c:v>
                </c:pt>
                <c:pt idx="87">
                  <c:v>0.18230686546145436</c:v>
                </c:pt>
                <c:pt idx="88">
                  <c:v>0.16277229097310619</c:v>
                </c:pt>
                <c:pt idx="89">
                  <c:v>0.16638809406470667</c:v>
                </c:pt>
                <c:pt idx="90">
                  <c:v>0.1670883470729505</c:v>
                </c:pt>
                <c:pt idx="91">
                  <c:v>0.18174194721845938</c:v>
                </c:pt>
                <c:pt idx="92">
                  <c:v>0.18304329484278647</c:v>
                </c:pt>
                <c:pt idx="93">
                  <c:v>0.17938719453971319</c:v>
                </c:pt>
                <c:pt idx="94">
                  <c:v>0.17375317927917333</c:v>
                </c:pt>
                <c:pt idx="95">
                  <c:v>0.16744895492259126</c:v>
                </c:pt>
                <c:pt idx="96">
                  <c:v>0.16639919564650962</c:v>
                </c:pt>
                <c:pt idx="97">
                  <c:v>0.16024987132846857</c:v>
                </c:pt>
                <c:pt idx="98">
                  <c:v>0.1327246620408753</c:v>
                </c:pt>
                <c:pt idx="99">
                  <c:v>0.13125403179953588</c:v>
                </c:pt>
                <c:pt idx="100">
                  <c:v>0.12753317233084394</c:v>
                </c:pt>
                <c:pt idx="101">
                  <c:v>0.12663186683737404</c:v>
                </c:pt>
                <c:pt idx="102">
                  <c:v>0.13320445266281844</c:v>
                </c:pt>
                <c:pt idx="103">
                  <c:v>0.13547540346975806</c:v>
                </c:pt>
                <c:pt idx="104">
                  <c:v>0.11660478264309004</c:v>
                </c:pt>
                <c:pt idx="105">
                  <c:v>0.11248857491590125</c:v>
                </c:pt>
                <c:pt idx="106">
                  <c:v>0.11248857491590125</c:v>
                </c:pt>
                <c:pt idx="107">
                  <c:v>0.10684367218774371</c:v>
                </c:pt>
                <c:pt idx="108">
                  <c:v>0.10474465733880001</c:v>
                </c:pt>
                <c:pt idx="109">
                  <c:v>9.8374087630542784E-2</c:v>
                </c:pt>
                <c:pt idx="110">
                  <c:v>7.8741001404972311E-2</c:v>
                </c:pt>
                <c:pt idx="111">
                  <c:v>6.5738985778474923E-2</c:v>
                </c:pt>
                <c:pt idx="112">
                  <c:v>4.2287516653765289E-2</c:v>
                </c:pt>
                <c:pt idx="113">
                  <c:v>5.9450616643388132E-2</c:v>
                </c:pt>
                <c:pt idx="114">
                  <c:v>5.5019534598076181E-2</c:v>
                </c:pt>
                <c:pt idx="115">
                  <c:v>7.2065374045398034E-2</c:v>
                </c:pt>
                <c:pt idx="116">
                  <c:v>7.1422520533078293E-2</c:v>
                </c:pt>
                <c:pt idx="117">
                  <c:v>5.6629704667729985E-2</c:v>
                </c:pt>
                <c:pt idx="118">
                  <c:v>3.9069431279113109E-2</c:v>
                </c:pt>
                <c:pt idx="119">
                  <c:v>7.1868610768633268E-2</c:v>
                </c:pt>
                <c:pt idx="120">
                  <c:v>-1.4736087169194612E-2</c:v>
                </c:pt>
                <c:pt idx="121">
                  <c:v>-1.6578044069253117E-3</c:v>
                </c:pt>
                <c:pt idx="122">
                  <c:v>8.1209689923000816E-3</c:v>
                </c:pt>
                <c:pt idx="123">
                  <c:v>7.383997549243726E-2</c:v>
                </c:pt>
                <c:pt idx="124">
                  <c:v>0.11648988926225545</c:v>
                </c:pt>
                <c:pt idx="125">
                  <c:v>0.11082468337703255</c:v>
                </c:pt>
                <c:pt idx="126">
                  <c:v>0.10695035712708778</c:v>
                </c:pt>
                <c:pt idx="127">
                  <c:v>0.10551318998011361</c:v>
                </c:pt>
                <c:pt idx="128">
                  <c:v>0.12486079566556119</c:v>
                </c:pt>
                <c:pt idx="129">
                  <c:v>0.12643780859759768</c:v>
                </c:pt>
                <c:pt idx="130">
                  <c:v>0.13896643943134235</c:v>
                </c:pt>
                <c:pt idx="131">
                  <c:v>0.13839724081093685</c:v>
                </c:pt>
                <c:pt idx="132">
                  <c:v>0.12190523387300378</c:v>
                </c:pt>
                <c:pt idx="133">
                  <c:v>0.12426619287804774</c:v>
                </c:pt>
                <c:pt idx="134">
                  <c:v>0.12900802658972466</c:v>
                </c:pt>
                <c:pt idx="135">
                  <c:v>0.11982545783547383</c:v>
                </c:pt>
                <c:pt idx="136">
                  <c:v>0.1279466738874635</c:v>
                </c:pt>
                <c:pt idx="137">
                  <c:v>0.11677888503709255</c:v>
                </c:pt>
                <c:pt idx="138">
                  <c:v>9.4988611664959866E-2</c:v>
                </c:pt>
                <c:pt idx="139">
                  <c:v>0.10761542753890341</c:v>
                </c:pt>
                <c:pt idx="140">
                  <c:v>0.10100937131103715</c:v>
                </c:pt>
                <c:pt idx="141">
                  <c:v>0.1067645469552041</c:v>
                </c:pt>
                <c:pt idx="142">
                  <c:v>0.13619191762160376</c:v>
                </c:pt>
                <c:pt idx="143">
                  <c:v>0.12863009597854758</c:v>
                </c:pt>
                <c:pt idx="144">
                  <c:v>0.14628285189777324</c:v>
                </c:pt>
                <c:pt idx="145">
                  <c:v>0.12845328991708338</c:v>
                </c:pt>
                <c:pt idx="146">
                  <c:v>0.13675157642498581</c:v>
                </c:pt>
                <c:pt idx="147">
                  <c:v>0.14893023693651286</c:v>
                </c:pt>
                <c:pt idx="148">
                  <c:v>0.13789267796029803</c:v>
                </c:pt>
                <c:pt idx="149">
                  <c:v>0.15545560312784112</c:v>
                </c:pt>
                <c:pt idx="150">
                  <c:v>0.15326440076638503</c:v>
                </c:pt>
                <c:pt idx="151">
                  <c:v>0.15511258089581847</c:v>
                </c:pt>
                <c:pt idx="152">
                  <c:v>0.16126729757295521</c:v>
                </c:pt>
                <c:pt idx="153">
                  <c:v>0.17727828221102504</c:v>
                </c:pt>
                <c:pt idx="154">
                  <c:v>0.17892878250653421</c:v>
                </c:pt>
                <c:pt idx="155">
                  <c:v>0.18034519674262528</c:v>
                </c:pt>
                <c:pt idx="156">
                  <c:v>0.17552554202034187</c:v>
                </c:pt>
                <c:pt idx="157">
                  <c:v>0.17576069415917361</c:v>
                </c:pt>
                <c:pt idx="158">
                  <c:v>0.16227826627043651</c:v>
                </c:pt>
                <c:pt idx="159">
                  <c:v>0.16332525900353967</c:v>
                </c:pt>
                <c:pt idx="160">
                  <c:v>0.16309264047544469</c:v>
                </c:pt>
                <c:pt idx="161">
                  <c:v>0.15374728744712307</c:v>
                </c:pt>
                <c:pt idx="162">
                  <c:v>0.16305170105556765</c:v>
                </c:pt>
                <c:pt idx="163">
                  <c:v>0.15911072459195497</c:v>
                </c:pt>
                <c:pt idx="164">
                  <c:v>0.15345877658668039</c:v>
                </c:pt>
                <c:pt idx="165">
                  <c:v>0.14305695826645559</c:v>
                </c:pt>
                <c:pt idx="166">
                  <c:v>0.15239132802344546</c:v>
                </c:pt>
                <c:pt idx="167">
                  <c:v>0.15981413850990878</c:v>
                </c:pt>
                <c:pt idx="168">
                  <c:v>0.15095180957617216</c:v>
                </c:pt>
                <c:pt idx="169">
                  <c:v>0.1544150547403933</c:v>
                </c:pt>
                <c:pt idx="170">
                  <c:v>0.14684587198529053</c:v>
                </c:pt>
                <c:pt idx="171">
                  <c:v>0.16077517407418074</c:v>
                </c:pt>
                <c:pt idx="172">
                  <c:v>0.16089126320050084</c:v>
                </c:pt>
                <c:pt idx="173">
                  <c:v>0.1545412861268034</c:v>
                </c:pt>
                <c:pt idx="174">
                  <c:v>0.15039984667875972</c:v>
                </c:pt>
                <c:pt idx="175">
                  <c:v>0.13743310923349772</c:v>
                </c:pt>
                <c:pt idx="176">
                  <c:v>0.12784641470847569</c:v>
                </c:pt>
                <c:pt idx="177">
                  <c:v>0.12773364134434129</c:v>
                </c:pt>
                <c:pt idx="178">
                  <c:v>0.10964640494375799</c:v>
                </c:pt>
                <c:pt idx="179">
                  <c:v>0.10654807034678715</c:v>
                </c:pt>
                <c:pt idx="180">
                  <c:v>0.10676942423163349</c:v>
                </c:pt>
                <c:pt idx="181">
                  <c:v>0.12385197424008276</c:v>
                </c:pt>
                <c:pt idx="182">
                  <c:v>0.12373960028005482</c:v>
                </c:pt>
                <c:pt idx="183">
                  <c:v>0.13463206813414264</c:v>
                </c:pt>
                <c:pt idx="184">
                  <c:v>0.1268567565141947</c:v>
                </c:pt>
                <c:pt idx="185">
                  <c:v>0.1152580725595751</c:v>
                </c:pt>
                <c:pt idx="186">
                  <c:v>0.11749305867692894</c:v>
                </c:pt>
                <c:pt idx="187">
                  <c:v>0.12051845851491927</c:v>
                </c:pt>
                <c:pt idx="188">
                  <c:v>0.13206552688918904</c:v>
                </c:pt>
                <c:pt idx="189">
                  <c:v>0.14073511375371739</c:v>
                </c:pt>
                <c:pt idx="190">
                  <c:v>0.1398232551495977</c:v>
                </c:pt>
                <c:pt idx="191">
                  <c:v>0.13032849578500372</c:v>
                </c:pt>
                <c:pt idx="192">
                  <c:v>0.12336364120950472</c:v>
                </c:pt>
                <c:pt idx="193">
                  <c:v>0.11466922128349344</c:v>
                </c:pt>
                <c:pt idx="194">
                  <c:v>0.11455776550694274</c:v>
                </c:pt>
                <c:pt idx="195">
                  <c:v>0.14867336443052936</c:v>
                </c:pt>
                <c:pt idx="196">
                  <c:v>0.16321353360053603</c:v>
                </c:pt>
                <c:pt idx="197">
                  <c:v>0.1608917501003353</c:v>
                </c:pt>
                <c:pt idx="198">
                  <c:v>0.1621701372513118</c:v>
                </c:pt>
                <c:pt idx="199">
                  <c:v>0.1695382280882678</c:v>
                </c:pt>
                <c:pt idx="200">
                  <c:v>0.16129304745136297</c:v>
                </c:pt>
                <c:pt idx="201">
                  <c:v>0.16818534096304494</c:v>
                </c:pt>
                <c:pt idx="202">
                  <c:v>0.1709957307167651</c:v>
                </c:pt>
                <c:pt idx="203">
                  <c:v>0.1695922200527018</c:v>
                </c:pt>
                <c:pt idx="204">
                  <c:v>0.16889088552138909</c:v>
                </c:pt>
                <c:pt idx="205">
                  <c:v>0.16272842486958017</c:v>
                </c:pt>
                <c:pt idx="206">
                  <c:v>0.16063927417606316</c:v>
                </c:pt>
                <c:pt idx="207">
                  <c:v>0.15820703939333725</c:v>
                </c:pt>
                <c:pt idx="208">
                  <c:v>0.15038442530128848</c:v>
                </c:pt>
                <c:pt idx="209">
                  <c:v>0.151190258482226</c:v>
                </c:pt>
                <c:pt idx="210">
                  <c:v>0.14946605939313629</c:v>
                </c:pt>
                <c:pt idx="211">
                  <c:v>0.14545696003302067</c:v>
                </c:pt>
                <c:pt idx="212">
                  <c:v>0.14134810684836641</c:v>
                </c:pt>
                <c:pt idx="213">
                  <c:v>0.13702740271803782</c:v>
                </c:pt>
                <c:pt idx="214">
                  <c:v>0.13702740271803782</c:v>
                </c:pt>
                <c:pt idx="215">
                  <c:v>0.13385261539493221</c:v>
                </c:pt>
                <c:pt idx="216">
                  <c:v>0.12821155760689784</c:v>
                </c:pt>
                <c:pt idx="217">
                  <c:v>0.13880242011395771</c:v>
                </c:pt>
                <c:pt idx="218">
                  <c:v>0.14418006642616077</c:v>
                </c:pt>
                <c:pt idx="219">
                  <c:v>0.14647301245106292</c:v>
                </c:pt>
                <c:pt idx="220">
                  <c:v>0.15502016164725263</c:v>
                </c:pt>
                <c:pt idx="221">
                  <c:v>0.15363579868882593</c:v>
                </c:pt>
                <c:pt idx="222">
                  <c:v>0.15664307067257477</c:v>
                </c:pt>
                <c:pt idx="223">
                  <c:v>0.1438321505860114</c:v>
                </c:pt>
                <c:pt idx="224">
                  <c:v>0.130380621193805</c:v>
                </c:pt>
                <c:pt idx="225">
                  <c:v>0.11730811623386872</c:v>
                </c:pt>
                <c:pt idx="226">
                  <c:v>0.11753162255838046</c:v>
                </c:pt>
                <c:pt idx="227">
                  <c:v>0.11330107846023152</c:v>
                </c:pt>
                <c:pt idx="228">
                  <c:v>0.13036966033123321</c:v>
                </c:pt>
                <c:pt idx="229">
                  <c:v>0.13536526750826949</c:v>
                </c:pt>
                <c:pt idx="230">
                  <c:v>0.13604689564565686</c:v>
                </c:pt>
                <c:pt idx="231">
                  <c:v>0.13017001158541253</c:v>
                </c:pt>
                <c:pt idx="232">
                  <c:v>0.13220798596014083</c:v>
                </c:pt>
                <c:pt idx="233">
                  <c:v>0.12949719269766646</c:v>
                </c:pt>
                <c:pt idx="234">
                  <c:v>0.13952501281039797</c:v>
                </c:pt>
                <c:pt idx="235">
                  <c:v>0.14203749530005805</c:v>
                </c:pt>
                <c:pt idx="236">
                  <c:v>0.14754571473076572</c:v>
                </c:pt>
                <c:pt idx="237">
                  <c:v>0.14092833041436248</c:v>
                </c:pt>
                <c:pt idx="238">
                  <c:v>0.14138488436810959</c:v>
                </c:pt>
                <c:pt idx="239">
                  <c:v>0.13683753423118494</c:v>
                </c:pt>
                <c:pt idx="240">
                  <c:v>0.14878489716166632</c:v>
                </c:pt>
                <c:pt idx="241">
                  <c:v>0.1428421181473003</c:v>
                </c:pt>
                <c:pt idx="242">
                  <c:v>0.13568728823144216</c:v>
                </c:pt>
                <c:pt idx="243">
                  <c:v>0.13682411234378589</c:v>
                </c:pt>
                <c:pt idx="244">
                  <c:v>0.13218216546537787</c:v>
                </c:pt>
                <c:pt idx="245">
                  <c:v>0.12924612553897652</c:v>
                </c:pt>
                <c:pt idx="246">
                  <c:v>0.13640548006337583</c:v>
                </c:pt>
                <c:pt idx="247">
                  <c:v>0.12693919086015071</c:v>
                </c:pt>
                <c:pt idx="248">
                  <c:v>0.13260220186949812</c:v>
                </c:pt>
                <c:pt idx="249">
                  <c:v>0.12989046475408839</c:v>
                </c:pt>
                <c:pt idx="250">
                  <c:v>0.1371683421438088</c:v>
                </c:pt>
                <c:pt idx="251">
                  <c:v>0.13728207035084394</c:v>
                </c:pt>
                <c:pt idx="252">
                  <c:v>0.13990384920401322</c:v>
                </c:pt>
                <c:pt idx="253">
                  <c:v>0.12738982217783912</c:v>
                </c:pt>
                <c:pt idx="254">
                  <c:v>0.1321448304657955</c:v>
                </c:pt>
                <c:pt idx="255">
                  <c:v>0.12438656317985464</c:v>
                </c:pt>
                <c:pt idx="256">
                  <c:v>0.12013006891796629</c:v>
                </c:pt>
                <c:pt idx="257">
                  <c:v>0.12462858325097015</c:v>
                </c:pt>
                <c:pt idx="258">
                  <c:v>0.10496029008741403</c:v>
                </c:pt>
                <c:pt idx="259">
                  <c:v>0.10806286611252913</c:v>
                </c:pt>
                <c:pt idx="260">
                  <c:v>0.10917203815067977</c:v>
                </c:pt>
                <c:pt idx="261">
                  <c:v>0.10541363180255092</c:v>
                </c:pt>
                <c:pt idx="262">
                  <c:v>9.9914061495075757E-2</c:v>
                </c:pt>
                <c:pt idx="263">
                  <c:v>9.0427343605706145E-2</c:v>
                </c:pt>
                <c:pt idx="264">
                  <c:v>8.0915289061960882E-2</c:v>
                </c:pt>
                <c:pt idx="265">
                  <c:v>7.9404123289355644E-2</c:v>
                </c:pt>
                <c:pt idx="266">
                  <c:v>6.8399607333817336E-2</c:v>
                </c:pt>
                <c:pt idx="267">
                  <c:v>8.6876507969295469E-2</c:v>
                </c:pt>
                <c:pt idx="268">
                  <c:v>8.8182326761409247E-2</c:v>
                </c:pt>
                <c:pt idx="269">
                  <c:v>9.156618192537791E-2</c:v>
                </c:pt>
                <c:pt idx="270">
                  <c:v>0.11282106425260263</c:v>
                </c:pt>
                <c:pt idx="271">
                  <c:v>0.10497573652328707</c:v>
                </c:pt>
                <c:pt idx="272">
                  <c:v>0.10398215258595989</c:v>
                </c:pt>
                <c:pt idx="273">
                  <c:v>0.11008763457612858</c:v>
                </c:pt>
                <c:pt idx="274">
                  <c:v>0.10787189079453952</c:v>
                </c:pt>
                <c:pt idx="275">
                  <c:v>0.11198623988210343</c:v>
                </c:pt>
                <c:pt idx="276">
                  <c:v>9.7174385675484309E-2</c:v>
                </c:pt>
                <c:pt idx="277">
                  <c:v>0.10591108323302523</c:v>
                </c:pt>
                <c:pt idx="278">
                  <c:v>0.1001900947403751</c:v>
                </c:pt>
                <c:pt idx="279">
                  <c:v>0.10294746339887229</c:v>
                </c:pt>
                <c:pt idx="280">
                  <c:v>9.2027191484032045E-2</c:v>
                </c:pt>
                <c:pt idx="281">
                  <c:v>8.8218426989568499E-2</c:v>
                </c:pt>
                <c:pt idx="282">
                  <c:v>7.1186560674838528E-2</c:v>
                </c:pt>
                <c:pt idx="283">
                  <c:v>6.8302144883652716E-2</c:v>
                </c:pt>
                <c:pt idx="284">
                  <c:v>5.2099807842872492E-2</c:v>
                </c:pt>
                <c:pt idx="285">
                  <c:v>5.1363853145670602E-2</c:v>
                </c:pt>
                <c:pt idx="286">
                  <c:v>4.6653910548203781E-2</c:v>
                </c:pt>
                <c:pt idx="287">
                  <c:v>2.502586480090474E-2</c:v>
                </c:pt>
                <c:pt idx="288">
                  <c:v>2.6977121331434484E-2</c:v>
                </c:pt>
                <c:pt idx="289">
                  <c:v>2.0040843594988589E-2</c:v>
                </c:pt>
                <c:pt idx="290">
                  <c:v>4.7484949265751197E-2</c:v>
                </c:pt>
                <c:pt idx="291">
                  <c:v>6.6250966272140888E-2</c:v>
                </c:pt>
                <c:pt idx="292">
                  <c:v>8.5574186797129803E-2</c:v>
                </c:pt>
                <c:pt idx="293">
                  <c:v>6.8058035022756647E-2</c:v>
                </c:pt>
                <c:pt idx="294">
                  <c:v>7.1701821214887218E-2</c:v>
                </c:pt>
                <c:pt idx="295">
                  <c:v>7.2667221714430186E-2</c:v>
                </c:pt>
                <c:pt idx="296">
                  <c:v>6.0157364809676039E-2</c:v>
                </c:pt>
                <c:pt idx="297">
                  <c:v>6.5591883415093033E-2</c:v>
                </c:pt>
                <c:pt idx="298">
                  <c:v>8.7005899637961015E-2</c:v>
                </c:pt>
                <c:pt idx="299">
                  <c:v>9.0714328354365881E-2</c:v>
                </c:pt>
                <c:pt idx="300">
                  <c:v>7.9594504953346412E-2</c:v>
                </c:pt>
                <c:pt idx="301">
                  <c:v>8.6767168263888195E-2</c:v>
                </c:pt>
                <c:pt idx="302">
                  <c:v>9.6083881254551917E-2</c:v>
                </c:pt>
                <c:pt idx="303">
                  <c:v>0.11007077299427981</c:v>
                </c:pt>
                <c:pt idx="304">
                  <c:v>0.10421841539269838</c:v>
                </c:pt>
                <c:pt idx="305">
                  <c:v>0.10532373913183024</c:v>
                </c:pt>
                <c:pt idx="306">
                  <c:v>9.7313351664678027E-2</c:v>
                </c:pt>
                <c:pt idx="307">
                  <c:v>0.10160962921863059</c:v>
                </c:pt>
                <c:pt idx="308">
                  <c:v>9.048666523325144E-2</c:v>
                </c:pt>
                <c:pt idx="309">
                  <c:v>9.0813909406073146E-2</c:v>
                </c:pt>
                <c:pt idx="310">
                  <c:v>9.0813909406073146E-2</c:v>
                </c:pt>
                <c:pt idx="311">
                  <c:v>8.4631509800211946E-2</c:v>
                </c:pt>
                <c:pt idx="312">
                  <c:v>7.6877988284562937E-2</c:v>
                </c:pt>
                <c:pt idx="313">
                  <c:v>7.1200624972210136E-2</c:v>
                </c:pt>
                <c:pt idx="314">
                  <c:v>6.9382674425686464E-2</c:v>
                </c:pt>
                <c:pt idx="315">
                  <c:v>7.1525725877441326E-2</c:v>
                </c:pt>
                <c:pt idx="316">
                  <c:v>7.0027687115479686E-2</c:v>
                </c:pt>
                <c:pt idx="317">
                  <c:v>7.1313263031117069E-2</c:v>
                </c:pt>
                <c:pt idx="318">
                  <c:v>6.8108936222449845E-2</c:v>
                </c:pt>
                <c:pt idx="319">
                  <c:v>6.7148502570136825E-2</c:v>
                </c:pt>
                <c:pt idx="320">
                  <c:v>7.1434239528249899E-2</c:v>
                </c:pt>
                <c:pt idx="321">
                  <c:v>7.3581402332915768E-2</c:v>
                </c:pt>
                <c:pt idx="322">
                  <c:v>6.9197691796549998E-2</c:v>
                </c:pt>
                <c:pt idx="323">
                  <c:v>6.239834240515707E-2</c:v>
                </c:pt>
                <c:pt idx="324">
                  <c:v>6.4420741814604776E-2</c:v>
                </c:pt>
                <c:pt idx="325">
                  <c:v>6.7730707006324442E-2</c:v>
                </c:pt>
                <c:pt idx="326">
                  <c:v>5.7577958603728607E-2</c:v>
                </c:pt>
                <c:pt idx="327">
                  <c:v>6.8584377693976517E-2</c:v>
                </c:pt>
                <c:pt idx="328">
                  <c:v>6.5494443806936475E-2</c:v>
                </c:pt>
                <c:pt idx="329">
                  <c:v>7.0848687243152186E-2</c:v>
                </c:pt>
                <c:pt idx="330">
                  <c:v>6.977890833481748E-2</c:v>
                </c:pt>
                <c:pt idx="331">
                  <c:v>5.7616320647372543E-2</c:v>
                </c:pt>
                <c:pt idx="332">
                  <c:v>5.8993011562403552E-2</c:v>
                </c:pt>
                <c:pt idx="333">
                  <c:v>5.6879253056290935E-2</c:v>
                </c:pt>
                <c:pt idx="334">
                  <c:v>4.963675941631851E-2</c:v>
                </c:pt>
                <c:pt idx="335">
                  <c:v>5.2267427986284254E-2</c:v>
                </c:pt>
                <c:pt idx="336">
                  <c:v>6.3003766023117747E-2</c:v>
                </c:pt>
                <c:pt idx="337">
                  <c:v>6.2684960534957312E-2</c:v>
                </c:pt>
                <c:pt idx="338">
                  <c:v>5.5822116775913866E-2</c:v>
                </c:pt>
                <c:pt idx="339">
                  <c:v>6.2836839919381937E-2</c:v>
                </c:pt>
                <c:pt idx="340">
                  <c:v>6.785576200078558E-2</c:v>
                </c:pt>
                <c:pt idx="341">
                  <c:v>6.7642233554074727E-2</c:v>
                </c:pt>
                <c:pt idx="342">
                  <c:v>6.7002032334674055E-2</c:v>
                </c:pt>
                <c:pt idx="343">
                  <c:v>6.4553559148632145E-2</c:v>
                </c:pt>
                <c:pt idx="344">
                  <c:v>6.6793826183617622E-2</c:v>
                </c:pt>
                <c:pt idx="345">
                  <c:v>5.466517665211823E-2</c:v>
                </c:pt>
                <c:pt idx="346">
                  <c:v>4.8896247292012029E-2</c:v>
                </c:pt>
                <c:pt idx="347">
                  <c:v>4.8267286919860153E-2</c:v>
                </c:pt>
                <c:pt idx="348">
                  <c:v>4.6906308718525969E-2</c:v>
                </c:pt>
                <c:pt idx="349">
                  <c:v>4.066233471026437E-2</c:v>
                </c:pt>
                <c:pt idx="350">
                  <c:v>4.1182926173350953E-2</c:v>
                </c:pt>
                <c:pt idx="351">
                  <c:v>4.0870664973858828E-2</c:v>
                </c:pt>
                <c:pt idx="352">
                  <c:v>3.1586387486480572E-2</c:v>
                </c:pt>
                <c:pt idx="353">
                  <c:v>2.0463337111960245E-2</c:v>
                </c:pt>
                <c:pt idx="354">
                  <c:v>7.86502430810887E-3</c:v>
                </c:pt>
                <c:pt idx="355">
                  <c:v>1.0492304299287047E-2</c:v>
                </c:pt>
                <c:pt idx="356">
                  <c:v>2.5984672859465041E-2</c:v>
                </c:pt>
                <c:pt idx="357">
                  <c:v>2.1490116347535837E-2</c:v>
                </c:pt>
                <c:pt idx="358">
                  <c:v>1.207779287380939E-2</c:v>
                </c:pt>
                <c:pt idx="359">
                  <c:v>1.5224990343875477E-2</c:v>
                </c:pt>
                <c:pt idx="360">
                  <c:v>1.5834491038498655E-2</c:v>
                </c:pt>
                <c:pt idx="361">
                  <c:v>4.5831596504140037E-3</c:v>
                </c:pt>
                <c:pt idx="362">
                  <c:v>-5.4616774077675956E-3</c:v>
                </c:pt>
                <c:pt idx="363">
                  <c:v>7.4292875048542761E-4</c:v>
                </c:pt>
                <c:pt idx="364">
                  <c:v>2.1459330567648038E-3</c:v>
                </c:pt>
                <c:pt idx="365">
                  <c:v>5.867643337112094E-3</c:v>
                </c:pt>
                <c:pt idx="366">
                  <c:v>1.1227147217364175E-2</c:v>
                </c:pt>
                <c:pt idx="367">
                  <c:v>2.1132128867377808E-2</c:v>
                </c:pt>
                <c:pt idx="368">
                  <c:v>3.7103523123479309E-2</c:v>
                </c:pt>
                <c:pt idx="369">
                  <c:v>3.1020502160731045E-2</c:v>
                </c:pt>
                <c:pt idx="370">
                  <c:v>4.2909672426391765E-2</c:v>
                </c:pt>
                <c:pt idx="371">
                  <c:v>4.1347650949966841E-2</c:v>
                </c:pt>
                <c:pt idx="372">
                  <c:v>3.9165403602401838E-2</c:v>
                </c:pt>
                <c:pt idx="373">
                  <c:v>3.1122646956143862E-2</c:v>
                </c:pt>
                <c:pt idx="374">
                  <c:v>4.1538027228428254E-2</c:v>
                </c:pt>
                <c:pt idx="375">
                  <c:v>3.9044320858368176E-2</c:v>
                </c:pt>
                <c:pt idx="376">
                  <c:v>4.5211066148645118E-2</c:v>
                </c:pt>
                <c:pt idx="377">
                  <c:v>4.7725607606901699E-2</c:v>
                </c:pt>
                <c:pt idx="378">
                  <c:v>4.7935194645830848E-2</c:v>
                </c:pt>
                <c:pt idx="379">
                  <c:v>4.0340707481217875E-2</c:v>
                </c:pt>
                <c:pt idx="380">
                  <c:v>4.1799226398175238E-2</c:v>
                </c:pt>
                <c:pt idx="381">
                  <c:v>4.3887000398973086E-2</c:v>
                </c:pt>
                <c:pt idx="382">
                  <c:v>4.6398356454463663E-2</c:v>
                </c:pt>
                <c:pt idx="383">
                  <c:v>4.41013335207181E-2</c:v>
                </c:pt>
                <c:pt idx="384">
                  <c:v>3.3661353846864861E-2</c:v>
                </c:pt>
                <c:pt idx="385">
                  <c:v>3.0056157296327601E-2</c:v>
                </c:pt>
                <c:pt idx="386">
                  <c:v>2.5850171592797233E-2</c:v>
                </c:pt>
                <c:pt idx="387">
                  <c:v>3.1108826608500673E-2</c:v>
                </c:pt>
                <c:pt idx="388">
                  <c:v>3.5249825912149202E-2</c:v>
                </c:pt>
                <c:pt idx="389">
                  <c:v>3.6597402535445189E-2</c:v>
                </c:pt>
                <c:pt idx="390">
                  <c:v>2.623245474254543E-2</c:v>
                </c:pt>
                <c:pt idx="391">
                  <c:v>2.8289032808161751E-2</c:v>
                </c:pt>
                <c:pt idx="392">
                  <c:v>3.3352459861482942E-2</c:v>
                </c:pt>
                <c:pt idx="393">
                  <c:v>2.2716211264333985E-2</c:v>
                </c:pt>
                <c:pt idx="394">
                  <c:v>1.4800765295032603E-2</c:v>
                </c:pt>
                <c:pt idx="395">
                  <c:v>2.3087776282924244E-2</c:v>
                </c:pt>
                <c:pt idx="396">
                  <c:v>2.4624713352953576E-2</c:v>
                </c:pt>
                <c:pt idx="397">
                  <c:v>1.4781334409184499E-2</c:v>
                </c:pt>
                <c:pt idx="398">
                  <c:v>1.0839062067122596E-2</c:v>
                </c:pt>
                <c:pt idx="399">
                  <c:v>1.5102492535772782E-2</c:v>
                </c:pt>
                <c:pt idx="400">
                  <c:v>1.3076339856060715E-2</c:v>
                </c:pt>
                <c:pt idx="401">
                  <c:v>1.5819051294555964E-2</c:v>
                </c:pt>
                <c:pt idx="402">
                  <c:v>1.5412886140099946E-2</c:v>
                </c:pt>
                <c:pt idx="403">
                  <c:v>-1.7568952614039901E-3</c:v>
                </c:pt>
                <c:pt idx="404">
                  <c:v>-2.0562783778905747E-3</c:v>
                </c:pt>
                <c:pt idx="405">
                  <c:v>8.4617553114973987E-4</c:v>
                </c:pt>
                <c:pt idx="406">
                  <c:v>3.3545619359895973E-3</c:v>
                </c:pt>
                <c:pt idx="407">
                  <c:v>-4.608569507946747E-3</c:v>
                </c:pt>
                <c:pt idx="408">
                  <c:v>-1.5438743331302351E-2</c:v>
                </c:pt>
                <c:pt idx="409">
                  <c:v>4.6870914408869702E-4</c:v>
                </c:pt>
                <c:pt idx="410">
                  <c:v>-7.3041435868104188E-4</c:v>
                </c:pt>
                <c:pt idx="411">
                  <c:v>-6.0974879238920865E-3</c:v>
                </c:pt>
                <c:pt idx="412">
                  <c:v>-5.8986676574236396E-3</c:v>
                </c:pt>
                <c:pt idx="413">
                  <c:v>-1.0942859076135458E-2</c:v>
                </c:pt>
                <c:pt idx="414">
                  <c:v>-1.6646310475378345E-2</c:v>
                </c:pt>
                <c:pt idx="415">
                  <c:v>-1.2796215716673331E-2</c:v>
                </c:pt>
                <c:pt idx="416">
                  <c:v>-1.6827224097872073E-2</c:v>
                </c:pt>
                <c:pt idx="417">
                  <c:v>-2.8869245454239523E-2</c:v>
                </c:pt>
                <c:pt idx="418">
                  <c:v>-1.6078262871569882E-2</c:v>
                </c:pt>
                <c:pt idx="419">
                  <c:v>-1.4501465215915332E-2</c:v>
                </c:pt>
                <c:pt idx="420">
                  <c:v>-2.0963108698505151E-2</c:v>
                </c:pt>
                <c:pt idx="421">
                  <c:v>-2.1843449593870523E-2</c:v>
                </c:pt>
                <c:pt idx="422">
                  <c:v>-2.5740487643297283E-2</c:v>
                </c:pt>
                <c:pt idx="423">
                  <c:v>-2.8944969244789509E-2</c:v>
                </c:pt>
                <c:pt idx="424">
                  <c:v>-3.0979911430784823E-2</c:v>
                </c:pt>
                <c:pt idx="425">
                  <c:v>-3.2527866843834685E-2</c:v>
                </c:pt>
                <c:pt idx="426">
                  <c:v>-4.2106798855281902E-2</c:v>
                </c:pt>
                <c:pt idx="427">
                  <c:v>-5.0368592103977261E-2</c:v>
                </c:pt>
                <c:pt idx="428">
                  <c:v>-4.2999689714781075E-2</c:v>
                </c:pt>
                <c:pt idx="429">
                  <c:v>-3.4503318921288439E-2</c:v>
                </c:pt>
                <c:pt idx="430">
                  <c:v>-3.6526613033917243E-2</c:v>
                </c:pt>
                <c:pt idx="431">
                  <c:v>-3.604463535159308E-2</c:v>
                </c:pt>
                <c:pt idx="432">
                  <c:v>-4.0554031403994273E-2</c:v>
                </c:pt>
                <c:pt idx="433">
                  <c:v>-3.6217007939723045E-2</c:v>
                </c:pt>
                <c:pt idx="434">
                  <c:v>-4.7645264762572137E-2</c:v>
                </c:pt>
                <c:pt idx="435">
                  <c:v>-4.8501613310592551E-2</c:v>
                </c:pt>
                <c:pt idx="436">
                  <c:v>-4.7453812504347326E-2</c:v>
                </c:pt>
                <c:pt idx="437">
                  <c:v>-3.9868775833431402E-2</c:v>
                </c:pt>
                <c:pt idx="438">
                  <c:v>-3.1637696251569758E-2</c:v>
                </c:pt>
                <c:pt idx="439">
                  <c:v>-2.9794305431890322E-2</c:v>
                </c:pt>
                <c:pt idx="440">
                  <c:v>-2.9794305431890322E-2</c:v>
                </c:pt>
                <c:pt idx="441">
                  <c:v>-3.259976611017068E-2</c:v>
                </c:pt>
                <c:pt idx="442">
                  <c:v>-3.7221104807096506E-2</c:v>
                </c:pt>
                <c:pt idx="443">
                  <c:v>-3.8663110141883728E-2</c:v>
                </c:pt>
                <c:pt idx="444">
                  <c:v>-5.0531466806798653E-2</c:v>
                </c:pt>
                <c:pt idx="445">
                  <c:v>-2.7980617124077289E-2</c:v>
                </c:pt>
                <c:pt idx="446">
                  <c:v>-3.4929127406748806E-2</c:v>
                </c:pt>
                <c:pt idx="447">
                  <c:v>-3.9252491196365091E-2</c:v>
                </c:pt>
                <c:pt idx="448">
                  <c:v>-3.5200332593256833E-2</c:v>
                </c:pt>
                <c:pt idx="449">
                  <c:v>-4.1431030892455811E-2</c:v>
                </c:pt>
                <c:pt idx="450">
                  <c:v>-5.4479217688356507E-2</c:v>
                </c:pt>
                <c:pt idx="451">
                  <c:v>-5.7495232942939234E-2</c:v>
                </c:pt>
                <c:pt idx="452">
                  <c:v>-6.078249421319315E-2</c:v>
                </c:pt>
                <c:pt idx="453">
                  <c:v>-6.3871717545293749E-2</c:v>
                </c:pt>
                <c:pt idx="454">
                  <c:v>-6.9824838578392057E-2</c:v>
                </c:pt>
                <c:pt idx="455">
                  <c:v>-6.8054141447141614E-2</c:v>
                </c:pt>
                <c:pt idx="456">
                  <c:v>-6.6280073586956867E-2</c:v>
                </c:pt>
                <c:pt idx="457">
                  <c:v>-6.0454893929318687E-2</c:v>
                </c:pt>
                <c:pt idx="458">
                  <c:v>-6.735645615378083E-2</c:v>
                </c:pt>
                <c:pt idx="459">
                  <c:v>-6.977504104705845E-2</c:v>
                </c:pt>
                <c:pt idx="460">
                  <c:v>-6.968200924798329E-2</c:v>
                </c:pt>
                <c:pt idx="461">
                  <c:v>-7.1168140223625498E-2</c:v>
                </c:pt>
                <c:pt idx="462">
                  <c:v>-6.8653504686278399E-2</c:v>
                </c:pt>
                <c:pt idx="463">
                  <c:v>-7.0976064524965965E-2</c:v>
                </c:pt>
                <c:pt idx="464">
                  <c:v>-7.3570068333631666E-2</c:v>
                </c:pt>
                <c:pt idx="465">
                  <c:v>-7.1061935559642686E-2</c:v>
                </c:pt>
                <c:pt idx="466">
                  <c:v>-7.7519300456447504E-2</c:v>
                </c:pt>
                <c:pt idx="467">
                  <c:v>-8.1651867054701288E-2</c:v>
                </c:pt>
                <c:pt idx="468">
                  <c:v>-8.1008573055840305E-2</c:v>
                </c:pt>
                <c:pt idx="469">
                  <c:v>-8.2934410793174651E-2</c:v>
                </c:pt>
                <c:pt idx="470">
                  <c:v>-0.10249991269639336</c:v>
                </c:pt>
                <c:pt idx="471">
                  <c:v>-0.10267937682102912</c:v>
                </c:pt>
                <c:pt idx="472">
                  <c:v>-0.11288124253191223</c:v>
                </c:pt>
                <c:pt idx="473">
                  <c:v>-0.1075264009375374</c:v>
                </c:pt>
                <c:pt idx="474">
                  <c:v>-0.10734787051163974</c:v>
                </c:pt>
                <c:pt idx="475">
                  <c:v>-0.10690132117222595</c:v>
                </c:pt>
                <c:pt idx="476">
                  <c:v>-0.10770438722372455</c:v>
                </c:pt>
                <c:pt idx="477">
                  <c:v>-0.11784912231707823</c:v>
                </c:pt>
                <c:pt idx="478">
                  <c:v>-0.13497658591594264</c:v>
                </c:pt>
                <c:pt idx="479">
                  <c:v>-0.14354117417420065</c:v>
                </c:pt>
                <c:pt idx="480">
                  <c:v>-0.14737797329437596</c:v>
                </c:pt>
                <c:pt idx="481">
                  <c:v>-0.15715497557767499</c:v>
                </c:pt>
                <c:pt idx="482">
                  <c:v>-0.15410977075238352</c:v>
                </c:pt>
                <c:pt idx="483">
                  <c:v>-0.14539277707858511</c:v>
                </c:pt>
                <c:pt idx="484">
                  <c:v>-0.13439965266746179</c:v>
                </c:pt>
                <c:pt idx="485">
                  <c:v>-0.14067274165339205</c:v>
                </c:pt>
                <c:pt idx="486">
                  <c:v>-0.13998472943694162</c:v>
                </c:pt>
                <c:pt idx="487">
                  <c:v>-0.12962729423837827</c:v>
                </c:pt>
                <c:pt idx="488">
                  <c:v>-0.1217227994332778</c:v>
                </c:pt>
                <c:pt idx="489">
                  <c:v>-0.10898123103710844</c:v>
                </c:pt>
                <c:pt idx="490">
                  <c:v>-0.10933749603869292</c:v>
                </c:pt>
                <c:pt idx="491">
                  <c:v>-0.11745689262652892</c:v>
                </c:pt>
                <c:pt idx="492">
                  <c:v>-0.11239755871118262</c:v>
                </c:pt>
                <c:pt idx="493">
                  <c:v>-0.10550998560030489</c:v>
                </c:pt>
                <c:pt idx="494">
                  <c:v>-0.10960579892524869</c:v>
                </c:pt>
                <c:pt idx="495">
                  <c:v>-0.11702280734356274</c:v>
                </c:pt>
                <c:pt idx="496">
                  <c:v>-0.12019012290111875</c:v>
                </c:pt>
                <c:pt idx="497">
                  <c:v>-0.13096614273125118</c:v>
                </c:pt>
                <c:pt idx="498">
                  <c:v>-0.13313330945760715</c:v>
                </c:pt>
                <c:pt idx="499">
                  <c:v>-0.13684487648870569</c:v>
                </c:pt>
                <c:pt idx="500">
                  <c:v>-0.12512150465102956</c:v>
                </c:pt>
                <c:pt idx="501">
                  <c:v>-0.12125502676881239</c:v>
                </c:pt>
                <c:pt idx="502">
                  <c:v>-0.11878763213880106</c:v>
                </c:pt>
                <c:pt idx="503">
                  <c:v>-0.12421748373961539</c:v>
                </c:pt>
                <c:pt idx="504">
                  <c:v>-0.12456765667694458</c:v>
                </c:pt>
                <c:pt idx="505">
                  <c:v>-0.11159697247508082</c:v>
                </c:pt>
                <c:pt idx="506">
                  <c:v>-0.1127503969590341</c:v>
                </c:pt>
                <c:pt idx="507">
                  <c:v>-0.11221772759559145</c:v>
                </c:pt>
                <c:pt idx="508">
                  <c:v>-9.7323566441882559E-2</c:v>
                </c:pt>
                <c:pt idx="509">
                  <c:v>-9.1417782025045358E-2</c:v>
                </c:pt>
                <c:pt idx="510">
                  <c:v>-8.9414493911651016E-2</c:v>
                </c:pt>
                <c:pt idx="511">
                  <c:v>-8.8502996908559561E-2</c:v>
                </c:pt>
                <c:pt idx="512">
                  <c:v>-8.1059579502530066E-2</c:v>
                </c:pt>
                <c:pt idx="513">
                  <c:v>-8.9436761298583134E-2</c:v>
                </c:pt>
                <c:pt idx="514">
                  <c:v>-8.9709848344079912E-2</c:v>
                </c:pt>
                <c:pt idx="515">
                  <c:v>-8.5319381374678316E-2</c:v>
                </c:pt>
                <c:pt idx="516">
                  <c:v>-9.3118561743682604E-2</c:v>
                </c:pt>
                <c:pt idx="517">
                  <c:v>-9.3481169275972165E-2</c:v>
                </c:pt>
                <c:pt idx="518">
                  <c:v>-9.0023257655061362E-2</c:v>
                </c:pt>
                <c:pt idx="519">
                  <c:v>-8.4714602348683665E-2</c:v>
                </c:pt>
                <c:pt idx="520">
                  <c:v>-7.9374977216539522E-2</c:v>
                </c:pt>
                <c:pt idx="521">
                  <c:v>-8.1945529733286282E-2</c:v>
                </c:pt>
                <c:pt idx="522">
                  <c:v>-7.9090710937191555E-2</c:v>
                </c:pt>
                <c:pt idx="523">
                  <c:v>-8.1387242830116224E-2</c:v>
                </c:pt>
                <c:pt idx="524">
                  <c:v>-9.4248908331804548E-2</c:v>
                </c:pt>
                <c:pt idx="525">
                  <c:v>-0.10116990010102667</c:v>
                </c:pt>
                <c:pt idx="526">
                  <c:v>-0.10661952102278771</c:v>
                </c:pt>
                <c:pt idx="527">
                  <c:v>-9.5127642077167729E-2</c:v>
                </c:pt>
                <c:pt idx="528">
                  <c:v>-0.10568061086891456</c:v>
                </c:pt>
                <c:pt idx="529">
                  <c:v>-0.10370877016327373</c:v>
                </c:pt>
                <c:pt idx="530">
                  <c:v>-0.10834537421734358</c:v>
                </c:pt>
                <c:pt idx="531">
                  <c:v>-0.10798856964520165</c:v>
                </c:pt>
                <c:pt idx="532">
                  <c:v>-0.10206218003342216</c:v>
                </c:pt>
                <c:pt idx="533">
                  <c:v>-9.5094406967068501E-2</c:v>
                </c:pt>
                <c:pt idx="534">
                  <c:v>-8.3825460126626061E-2</c:v>
                </c:pt>
                <c:pt idx="535">
                  <c:v>-8.5654151822980085E-2</c:v>
                </c:pt>
                <c:pt idx="536">
                  <c:v>-8.2258508303703737E-2</c:v>
                </c:pt>
                <c:pt idx="537">
                  <c:v>-8.3724549025263384E-2</c:v>
                </c:pt>
                <c:pt idx="538">
                  <c:v>-7.9859960860879098E-2</c:v>
                </c:pt>
                <c:pt idx="539">
                  <c:v>-7.4492014545241458E-2</c:v>
                </c:pt>
                <c:pt idx="540">
                  <c:v>-8.0651648500289497E-2</c:v>
                </c:pt>
                <c:pt idx="541">
                  <c:v>-7.8716954103907666E-2</c:v>
                </c:pt>
                <c:pt idx="542">
                  <c:v>-7.6500555436956441E-2</c:v>
                </c:pt>
                <c:pt idx="543">
                  <c:v>-6.1007173804734638E-2</c:v>
                </c:pt>
                <c:pt idx="544">
                  <c:v>-5.4483107244723161E-2</c:v>
                </c:pt>
                <c:pt idx="545">
                  <c:v>-5.6276182497977056E-2</c:v>
                </c:pt>
                <c:pt idx="546">
                  <c:v>-6.6082318157325126E-2</c:v>
                </c:pt>
                <c:pt idx="547">
                  <c:v>-6.0161334565085212E-2</c:v>
                </c:pt>
                <c:pt idx="548">
                  <c:v>-6.1381538564950877E-2</c:v>
                </c:pt>
                <c:pt idx="549">
                  <c:v>-6.4468791552826588E-2</c:v>
                </c:pt>
                <c:pt idx="550">
                  <c:v>-6.7824622910349408E-2</c:v>
                </c:pt>
                <c:pt idx="551">
                  <c:v>-6.8290477671513639E-2</c:v>
                </c:pt>
                <c:pt idx="552">
                  <c:v>-6.2005917317541126E-2</c:v>
                </c:pt>
                <c:pt idx="553">
                  <c:v>-6.313016112419223E-2</c:v>
                </c:pt>
                <c:pt idx="554">
                  <c:v>-6.834741559684987E-2</c:v>
                </c:pt>
                <c:pt idx="555">
                  <c:v>-7.0763430677089345E-2</c:v>
                </c:pt>
                <c:pt idx="556">
                  <c:v>-6.8154262612404093E-2</c:v>
                </c:pt>
                <c:pt idx="557">
                  <c:v>-7.865756635594634E-2</c:v>
                </c:pt>
                <c:pt idx="558">
                  <c:v>-8.9582575450539825E-2</c:v>
                </c:pt>
                <c:pt idx="559">
                  <c:v>-9.6718499306022276E-2</c:v>
                </c:pt>
                <c:pt idx="560">
                  <c:v>-9.8971071626954843E-2</c:v>
                </c:pt>
                <c:pt idx="561">
                  <c:v>-0.10076953256183119</c:v>
                </c:pt>
                <c:pt idx="562">
                  <c:v>-8.9571259048123131E-2</c:v>
                </c:pt>
                <c:pt idx="563">
                  <c:v>-8.5088191184929274E-2</c:v>
                </c:pt>
                <c:pt idx="564">
                  <c:v>-8.7278722251525553E-2</c:v>
                </c:pt>
                <c:pt idx="565">
                  <c:v>-9.7298706608174856E-2</c:v>
                </c:pt>
                <c:pt idx="566">
                  <c:v>-9.8830694427647914E-2</c:v>
                </c:pt>
                <c:pt idx="567">
                  <c:v>-9.8740568484496416E-2</c:v>
                </c:pt>
                <c:pt idx="568">
                  <c:v>-0.1081937151043898</c:v>
                </c:pt>
                <c:pt idx="569">
                  <c:v>-0.10667506271099847</c:v>
                </c:pt>
                <c:pt idx="570">
                  <c:v>-9.7378056694956583E-2</c:v>
                </c:pt>
                <c:pt idx="571">
                  <c:v>-9.7558544985959395E-2</c:v>
                </c:pt>
                <c:pt idx="572">
                  <c:v>-9.4388906157510721E-2</c:v>
                </c:pt>
                <c:pt idx="573">
                  <c:v>-8.5979921434710116E-2</c:v>
                </c:pt>
                <c:pt idx="574">
                  <c:v>-8.3321553941139381E-2</c:v>
                </c:pt>
                <c:pt idx="575">
                  <c:v>-9.3564277604211821E-2</c:v>
                </c:pt>
                <c:pt idx="576">
                  <c:v>-9.573451476876671E-2</c:v>
                </c:pt>
                <c:pt idx="577">
                  <c:v>-0.10264415477698396</c:v>
                </c:pt>
                <c:pt idx="578">
                  <c:v>-0.10914737891093418</c:v>
                </c:pt>
                <c:pt idx="579">
                  <c:v>-0.1103928289504037</c:v>
                </c:pt>
                <c:pt idx="580">
                  <c:v>-0.1167522130166837</c:v>
                </c:pt>
                <c:pt idx="581">
                  <c:v>-0.10293744974272168</c:v>
                </c:pt>
                <c:pt idx="582">
                  <c:v>-0.10722278039681687</c:v>
                </c:pt>
                <c:pt idx="583">
                  <c:v>-0.10480575593784902</c:v>
                </c:pt>
                <c:pt idx="584">
                  <c:v>-0.11794832588220405</c:v>
                </c:pt>
                <c:pt idx="585">
                  <c:v>-0.12832130238383643</c:v>
                </c:pt>
                <c:pt idx="586">
                  <c:v>-0.12199970022545981</c:v>
                </c:pt>
                <c:pt idx="587">
                  <c:v>-0.11838507904956297</c:v>
                </c:pt>
                <c:pt idx="588">
                  <c:v>-0.12978489690017081</c:v>
                </c:pt>
                <c:pt idx="589">
                  <c:v>-0.13333821023819425</c:v>
                </c:pt>
                <c:pt idx="590">
                  <c:v>-0.12529088639301</c:v>
                </c:pt>
                <c:pt idx="591">
                  <c:v>-0.11412891066741959</c:v>
                </c:pt>
                <c:pt idx="592">
                  <c:v>-0.1154557270768044</c:v>
                </c:pt>
                <c:pt idx="593">
                  <c:v>-0.11598613539556701</c:v>
                </c:pt>
                <c:pt idx="594">
                  <c:v>-0.12038421432394719</c:v>
                </c:pt>
                <c:pt idx="595">
                  <c:v>-0.1285756036496406</c:v>
                </c:pt>
                <c:pt idx="596">
                  <c:v>-0.12154798755004093</c:v>
                </c:pt>
                <c:pt idx="597">
                  <c:v>-0.12756776993747232</c:v>
                </c:pt>
                <c:pt idx="598">
                  <c:v>-0.12511810061920603</c:v>
                </c:pt>
                <c:pt idx="599">
                  <c:v>-0.12292541415459257</c:v>
                </c:pt>
                <c:pt idx="600">
                  <c:v>-0.12511263257315963</c:v>
                </c:pt>
                <c:pt idx="601">
                  <c:v>-0.12142260752476364</c:v>
                </c:pt>
                <c:pt idx="602">
                  <c:v>-0.12177389796557736</c:v>
                </c:pt>
                <c:pt idx="603">
                  <c:v>-0.13645417695730311</c:v>
                </c:pt>
                <c:pt idx="604">
                  <c:v>-0.13333418000532227</c:v>
                </c:pt>
                <c:pt idx="605">
                  <c:v>-0.13020291048306121</c:v>
                </c:pt>
                <c:pt idx="606">
                  <c:v>-0.12035083988982731</c:v>
                </c:pt>
                <c:pt idx="607">
                  <c:v>-0.11920580743949871</c:v>
                </c:pt>
                <c:pt idx="608">
                  <c:v>-0.12437201256536312</c:v>
                </c:pt>
                <c:pt idx="609">
                  <c:v>-0.13909351348477339</c:v>
                </c:pt>
                <c:pt idx="610">
                  <c:v>-0.1369358531175674</c:v>
                </c:pt>
                <c:pt idx="611">
                  <c:v>-0.12281314474801031</c:v>
                </c:pt>
                <c:pt idx="612">
                  <c:v>-0.12316387919633176</c:v>
                </c:pt>
                <c:pt idx="613">
                  <c:v>-0.12377723513173944</c:v>
                </c:pt>
                <c:pt idx="614">
                  <c:v>-0.12052317086393594</c:v>
                </c:pt>
                <c:pt idx="615">
                  <c:v>-0.11867238286795867</c:v>
                </c:pt>
                <c:pt idx="616">
                  <c:v>-0.12025592220798431</c:v>
                </c:pt>
                <c:pt idx="617">
                  <c:v>-0.12183661629864673</c:v>
                </c:pt>
                <c:pt idx="618">
                  <c:v>-0.11928253565203761</c:v>
                </c:pt>
                <c:pt idx="619">
                  <c:v>-0.13092809912377901</c:v>
                </c:pt>
                <c:pt idx="620">
                  <c:v>-0.12953535569288754</c:v>
                </c:pt>
                <c:pt idx="621">
                  <c:v>-0.13127281007274205</c:v>
                </c:pt>
                <c:pt idx="622">
                  <c:v>-0.13188049372713295</c:v>
                </c:pt>
                <c:pt idx="623">
                  <c:v>-0.13533913717841928</c:v>
                </c:pt>
                <c:pt idx="624">
                  <c:v>-0.13090676166290005</c:v>
                </c:pt>
                <c:pt idx="625">
                  <c:v>-0.12785425154330166</c:v>
                </c:pt>
                <c:pt idx="626">
                  <c:v>-0.13288352708620166</c:v>
                </c:pt>
                <c:pt idx="627">
                  <c:v>-0.14146883869920956</c:v>
                </c:pt>
                <c:pt idx="628">
                  <c:v>-0.14845153610316364</c:v>
                </c:pt>
                <c:pt idx="629">
                  <c:v>-0.15871521053464099</c:v>
                </c:pt>
                <c:pt idx="630">
                  <c:v>-0.15947168601722539</c:v>
                </c:pt>
                <c:pt idx="631">
                  <c:v>-0.16240327455627845</c:v>
                </c:pt>
                <c:pt idx="632">
                  <c:v>-0.16440869369141897</c:v>
                </c:pt>
                <c:pt idx="633">
                  <c:v>-0.16657559713885783</c:v>
                </c:pt>
                <c:pt idx="634">
                  <c:v>-0.15756150524497903</c:v>
                </c:pt>
                <c:pt idx="635">
                  <c:v>-0.16861887421788124</c:v>
                </c:pt>
                <c:pt idx="636">
                  <c:v>-0.17660579797749953</c:v>
                </c:pt>
                <c:pt idx="637">
                  <c:v>-0.16753189563997528</c:v>
                </c:pt>
                <c:pt idx="638">
                  <c:v>-0.18088349467674436</c:v>
                </c:pt>
                <c:pt idx="639">
                  <c:v>-0.16933728290918193</c:v>
                </c:pt>
                <c:pt idx="640">
                  <c:v>-0.18064439032272828</c:v>
                </c:pt>
                <c:pt idx="641">
                  <c:v>-0.17859086749145692</c:v>
                </c:pt>
                <c:pt idx="642">
                  <c:v>-0.16768757472029272</c:v>
                </c:pt>
                <c:pt idx="643">
                  <c:v>-0.15406807065788464</c:v>
                </c:pt>
                <c:pt idx="644">
                  <c:v>-0.15584080496745301</c:v>
                </c:pt>
                <c:pt idx="645">
                  <c:v>-0.1423761098927695</c:v>
                </c:pt>
                <c:pt idx="646">
                  <c:v>-0.14177535263961716</c:v>
                </c:pt>
                <c:pt idx="647">
                  <c:v>-0.15454177188416618</c:v>
                </c:pt>
                <c:pt idx="648">
                  <c:v>-0.15908272516825761</c:v>
                </c:pt>
                <c:pt idx="649">
                  <c:v>-0.16092868206770861</c:v>
                </c:pt>
                <c:pt idx="650">
                  <c:v>-0.15654270412918037</c:v>
                </c:pt>
                <c:pt idx="651">
                  <c:v>-0.16148991363871201</c:v>
                </c:pt>
                <c:pt idx="652">
                  <c:v>-0.15018740614037907</c:v>
                </c:pt>
                <c:pt idx="653">
                  <c:v>-0.15424702044225613</c:v>
                </c:pt>
                <c:pt idx="654">
                  <c:v>-0.15195730516620487</c:v>
                </c:pt>
                <c:pt idx="655">
                  <c:v>-0.13720348475552435</c:v>
                </c:pt>
                <c:pt idx="656">
                  <c:v>-0.13504108747420995</c:v>
                </c:pt>
                <c:pt idx="657">
                  <c:v>-0.12621586773836746</c:v>
                </c:pt>
                <c:pt idx="658">
                  <c:v>-0.12682708877622406</c:v>
                </c:pt>
                <c:pt idx="659">
                  <c:v>-0.12726345704770015</c:v>
                </c:pt>
                <c:pt idx="660">
                  <c:v>-0.13641743226568381</c:v>
                </c:pt>
                <c:pt idx="661">
                  <c:v>-0.13563950782272427</c:v>
                </c:pt>
                <c:pt idx="662">
                  <c:v>-0.13181951368292921</c:v>
                </c:pt>
                <c:pt idx="663">
                  <c:v>-0.12428839387021295</c:v>
                </c:pt>
                <c:pt idx="664">
                  <c:v>-0.13347357398596171</c:v>
                </c:pt>
                <c:pt idx="665">
                  <c:v>-0.12622121002920417</c:v>
                </c:pt>
                <c:pt idx="666">
                  <c:v>-0.11605585233101079</c:v>
                </c:pt>
                <c:pt idx="667">
                  <c:v>-0.12315827034124671</c:v>
                </c:pt>
                <c:pt idx="668">
                  <c:v>-0.13201175048628655</c:v>
                </c:pt>
                <c:pt idx="669">
                  <c:v>-0.14137080867176421</c:v>
                </c:pt>
                <c:pt idx="670">
                  <c:v>-0.13094211404024714</c:v>
                </c:pt>
                <c:pt idx="671">
                  <c:v>-0.13137642582733344</c:v>
                </c:pt>
                <c:pt idx="672">
                  <c:v>-0.13869749710196666</c:v>
                </c:pt>
                <c:pt idx="673">
                  <c:v>-0.14067394702381186</c:v>
                </c:pt>
                <c:pt idx="674">
                  <c:v>-0.13955536900351651</c:v>
                </c:pt>
                <c:pt idx="675">
                  <c:v>-0.14706123017795047</c:v>
                </c:pt>
                <c:pt idx="676">
                  <c:v>-0.16007999032786857</c:v>
                </c:pt>
                <c:pt idx="677">
                  <c:v>-0.15679147708851371</c:v>
                </c:pt>
                <c:pt idx="678">
                  <c:v>-0.14749921857093695</c:v>
                </c:pt>
                <c:pt idx="679">
                  <c:v>-0.14690205000594103</c:v>
                </c:pt>
                <c:pt idx="680">
                  <c:v>-0.1507237929377212</c:v>
                </c:pt>
                <c:pt idx="681">
                  <c:v>-0.15662740112981244</c:v>
                </c:pt>
                <c:pt idx="682">
                  <c:v>-0.16539079775340171</c:v>
                </c:pt>
                <c:pt idx="683">
                  <c:v>-0.17003858169590469</c:v>
                </c:pt>
                <c:pt idx="684">
                  <c:v>-0.17186048862093861</c:v>
                </c:pt>
                <c:pt idx="685">
                  <c:v>-0.19055858530049707</c:v>
                </c:pt>
                <c:pt idx="686">
                  <c:v>-0.18221720074812797</c:v>
                </c:pt>
                <c:pt idx="687">
                  <c:v>-0.19247279623593161</c:v>
                </c:pt>
                <c:pt idx="688">
                  <c:v>-0.19263426938205519</c:v>
                </c:pt>
                <c:pt idx="689">
                  <c:v>-0.18776083438838553</c:v>
                </c:pt>
                <c:pt idx="690">
                  <c:v>-0.2016520880562076</c:v>
                </c:pt>
                <c:pt idx="691">
                  <c:v>-0.1912188107144237</c:v>
                </c:pt>
                <c:pt idx="692">
                  <c:v>-0.19089516878193646</c:v>
                </c:pt>
                <c:pt idx="693">
                  <c:v>-0.19460000874172445</c:v>
                </c:pt>
                <c:pt idx="694">
                  <c:v>-0.18481782261308144</c:v>
                </c:pt>
                <c:pt idx="695">
                  <c:v>-0.19535862463042297</c:v>
                </c:pt>
                <c:pt idx="696">
                  <c:v>-0.19720505300850344</c:v>
                </c:pt>
                <c:pt idx="697">
                  <c:v>-0.19227794849431878</c:v>
                </c:pt>
                <c:pt idx="698">
                  <c:v>-0.18436630162003309</c:v>
                </c:pt>
                <c:pt idx="699">
                  <c:v>-0.16379567523070859</c:v>
                </c:pt>
                <c:pt idx="700">
                  <c:v>-0.16052170989931591</c:v>
                </c:pt>
                <c:pt idx="701">
                  <c:v>-0.16177904133731003</c:v>
                </c:pt>
                <c:pt idx="702">
                  <c:v>-0.1691733980942709</c:v>
                </c:pt>
                <c:pt idx="703">
                  <c:v>-0.16516619583427539</c:v>
                </c:pt>
                <c:pt idx="704">
                  <c:v>-0.17154529704701338</c:v>
                </c:pt>
                <c:pt idx="705">
                  <c:v>-0.17005138954820009</c:v>
                </c:pt>
                <c:pt idx="706">
                  <c:v>-0.16107489088062277</c:v>
                </c:pt>
                <c:pt idx="707">
                  <c:v>-0.14647969364189928</c:v>
                </c:pt>
                <c:pt idx="708">
                  <c:v>-0.14571083339195201</c:v>
                </c:pt>
                <c:pt idx="709">
                  <c:v>-0.14690516615932903</c:v>
                </c:pt>
                <c:pt idx="710">
                  <c:v>-0.17046398887527126</c:v>
                </c:pt>
                <c:pt idx="711">
                  <c:v>-0.17220236391105803</c:v>
                </c:pt>
                <c:pt idx="712">
                  <c:v>-0.16002269295896299</c:v>
                </c:pt>
                <c:pt idx="713">
                  <c:v>-0.16069413764884388</c:v>
                </c:pt>
                <c:pt idx="714">
                  <c:v>-0.16719005521814234</c:v>
                </c:pt>
                <c:pt idx="715">
                  <c:v>-0.17747165947470844</c:v>
                </c:pt>
                <c:pt idx="716">
                  <c:v>-0.17292273451453843</c:v>
                </c:pt>
                <c:pt idx="717">
                  <c:v>-0.17457358733985873</c:v>
                </c:pt>
                <c:pt idx="718">
                  <c:v>-0.1725877980551912</c:v>
                </c:pt>
                <c:pt idx="719">
                  <c:v>-0.16633531290195591</c:v>
                </c:pt>
                <c:pt idx="720">
                  <c:v>-0.17434417441017724</c:v>
                </c:pt>
                <c:pt idx="721">
                  <c:v>-0.1668457864885744</c:v>
                </c:pt>
                <c:pt idx="722">
                  <c:v>-0.17932012065462422</c:v>
                </c:pt>
                <c:pt idx="723">
                  <c:v>-0.22107072955070639</c:v>
                </c:pt>
                <c:pt idx="724">
                  <c:v>-0.20638892465685832</c:v>
                </c:pt>
                <c:pt idx="725">
                  <c:v>-0.21190558555795258</c:v>
                </c:pt>
                <c:pt idx="726">
                  <c:v>-0.21683949672856262</c:v>
                </c:pt>
                <c:pt idx="727">
                  <c:v>-0.23482119856234751</c:v>
                </c:pt>
                <c:pt idx="728">
                  <c:v>-0.22810571831165893</c:v>
                </c:pt>
                <c:pt idx="729">
                  <c:v>-0.2119507078220102</c:v>
                </c:pt>
                <c:pt idx="730">
                  <c:v>-0.21273796985215798</c:v>
                </c:pt>
                <c:pt idx="731">
                  <c:v>-0.20750751948073076</c:v>
                </c:pt>
                <c:pt idx="732">
                  <c:v>-0.21998771602434131</c:v>
                </c:pt>
                <c:pt idx="733">
                  <c:v>-0.21520043870041383</c:v>
                </c:pt>
                <c:pt idx="734">
                  <c:v>-0.21527891080933292</c:v>
                </c:pt>
                <c:pt idx="735">
                  <c:v>-0.22885113090539799</c:v>
                </c:pt>
                <c:pt idx="736">
                  <c:v>-0.23115765793160314</c:v>
                </c:pt>
                <c:pt idx="737">
                  <c:v>-0.24711874063024208</c:v>
                </c:pt>
                <c:pt idx="738">
                  <c:v>-0.24348748053681879</c:v>
                </c:pt>
                <c:pt idx="739">
                  <c:v>-0.23569153418551103</c:v>
                </c:pt>
                <c:pt idx="740">
                  <c:v>-0.24280912837875079</c:v>
                </c:pt>
                <c:pt idx="741">
                  <c:v>-0.26192526404011196</c:v>
                </c:pt>
                <c:pt idx="742">
                  <c:v>-0.24593917454036773</c:v>
                </c:pt>
                <c:pt idx="743">
                  <c:v>-0.2626043169766944</c:v>
                </c:pt>
                <c:pt idx="744">
                  <c:v>-0.26060795846454865</c:v>
                </c:pt>
                <c:pt idx="745">
                  <c:v>-0.25434445186017418</c:v>
                </c:pt>
                <c:pt idx="746">
                  <c:v>-0.24833110066549813</c:v>
                </c:pt>
                <c:pt idx="747">
                  <c:v>-0.22874112524676604</c:v>
                </c:pt>
                <c:pt idx="748">
                  <c:v>-0.21968952372194051</c:v>
                </c:pt>
                <c:pt idx="749">
                  <c:v>-0.21616225386433008</c:v>
                </c:pt>
                <c:pt idx="750">
                  <c:v>-0.24200972233278217</c:v>
                </c:pt>
                <c:pt idx="751">
                  <c:v>-0.25963051605077381</c:v>
                </c:pt>
                <c:pt idx="752">
                  <c:v>-0.2513201699370754</c:v>
                </c:pt>
                <c:pt idx="753">
                  <c:v>-0.23697530568393332</c:v>
                </c:pt>
                <c:pt idx="754">
                  <c:v>-0.25230309229194836</c:v>
                </c:pt>
                <c:pt idx="755">
                  <c:v>-0.24982752311823853</c:v>
                </c:pt>
                <c:pt idx="756">
                  <c:v>-0.24079295933431688</c:v>
                </c:pt>
                <c:pt idx="757">
                  <c:v>-0.2245076193404667</c:v>
                </c:pt>
                <c:pt idx="758">
                  <c:v>-0.21872619316992414</c:v>
                </c:pt>
                <c:pt idx="759">
                  <c:v>-0.20569966772054105</c:v>
                </c:pt>
                <c:pt idx="760">
                  <c:v>-0.19580810744207866</c:v>
                </c:pt>
                <c:pt idx="761">
                  <c:v>-0.20100159706118093</c:v>
                </c:pt>
                <c:pt idx="762">
                  <c:v>-0.19374530480442076</c:v>
                </c:pt>
                <c:pt idx="763">
                  <c:v>-0.18527213500850925</c:v>
                </c:pt>
                <c:pt idx="764">
                  <c:v>-0.18851806275747929</c:v>
                </c:pt>
                <c:pt idx="765">
                  <c:v>-0.15514634331856247</c:v>
                </c:pt>
                <c:pt idx="766">
                  <c:v>-0.16541177844370492</c:v>
                </c:pt>
                <c:pt idx="767">
                  <c:v>-0.1805712110394746</c:v>
                </c:pt>
                <c:pt idx="768">
                  <c:v>-0.18440450984321144</c:v>
                </c:pt>
                <c:pt idx="769">
                  <c:v>-0.19637847063081226</c:v>
                </c:pt>
                <c:pt idx="770">
                  <c:v>-0.19193410822605561</c:v>
                </c:pt>
                <c:pt idx="771">
                  <c:v>-0.18492445856975548</c:v>
                </c:pt>
                <c:pt idx="772">
                  <c:v>-0.18296357114049266</c:v>
                </c:pt>
                <c:pt idx="773">
                  <c:v>-0.17761808871715423</c:v>
                </c:pt>
                <c:pt idx="774">
                  <c:v>-0.16905940054274449</c:v>
                </c:pt>
                <c:pt idx="775">
                  <c:v>-0.16395955382105287</c:v>
                </c:pt>
                <c:pt idx="776">
                  <c:v>-0.13828030696872073</c:v>
                </c:pt>
                <c:pt idx="777">
                  <c:v>-0.15084776011896006</c:v>
                </c:pt>
                <c:pt idx="778">
                  <c:v>-0.15304983055950527</c:v>
                </c:pt>
                <c:pt idx="779">
                  <c:v>-0.15296512707221255</c:v>
                </c:pt>
                <c:pt idx="780">
                  <c:v>-0.13673575934795401</c:v>
                </c:pt>
                <c:pt idx="781">
                  <c:v>-0.12501090548140481</c:v>
                </c:pt>
                <c:pt idx="782">
                  <c:v>-0.12474832998039898</c:v>
                </c:pt>
                <c:pt idx="783">
                  <c:v>-0.11840081585455176</c:v>
                </c:pt>
                <c:pt idx="784">
                  <c:v>-0.11910553142940816</c:v>
                </c:pt>
                <c:pt idx="785">
                  <c:v>-0.11892931729286671</c:v>
                </c:pt>
                <c:pt idx="786">
                  <c:v>-0.130922585611429</c:v>
                </c:pt>
                <c:pt idx="787">
                  <c:v>-0.13170405196466073</c:v>
                </c:pt>
                <c:pt idx="788">
                  <c:v>-0.14947992160315471</c:v>
                </c:pt>
                <c:pt idx="789">
                  <c:v>-0.14537773472985804</c:v>
                </c:pt>
                <c:pt idx="790">
                  <c:v>-0.14571944695107752</c:v>
                </c:pt>
                <c:pt idx="791">
                  <c:v>-0.14306294207149917</c:v>
                </c:pt>
                <c:pt idx="792">
                  <c:v>-0.14443185110972367</c:v>
                </c:pt>
                <c:pt idx="793">
                  <c:v>-0.1552447187102326</c:v>
                </c:pt>
                <c:pt idx="794">
                  <c:v>-0.14860382857310273</c:v>
                </c:pt>
                <c:pt idx="795">
                  <c:v>-0.14587061453962957</c:v>
                </c:pt>
                <c:pt idx="796">
                  <c:v>-0.15658202284944156</c:v>
                </c:pt>
                <c:pt idx="797">
                  <c:v>-0.16460184513613474</c:v>
                </c:pt>
                <c:pt idx="798">
                  <c:v>-0.18457964386152725</c:v>
                </c:pt>
                <c:pt idx="799">
                  <c:v>-0.17459220959765898</c:v>
                </c:pt>
                <c:pt idx="800">
                  <c:v>-0.17714306609277142</c:v>
                </c:pt>
                <c:pt idx="801">
                  <c:v>-0.1700888210718825</c:v>
                </c:pt>
                <c:pt idx="802">
                  <c:v>-0.17846844295375419</c:v>
                </c:pt>
                <c:pt idx="803">
                  <c:v>-0.18100732026094535</c:v>
                </c:pt>
                <c:pt idx="804">
                  <c:v>-0.20129444144816211</c:v>
                </c:pt>
                <c:pt idx="805">
                  <c:v>-0.19913209811306731</c:v>
                </c:pt>
                <c:pt idx="806">
                  <c:v>-0.21251927051432373</c:v>
                </c:pt>
                <c:pt idx="807">
                  <c:v>-0.20712773914047899</c:v>
                </c:pt>
                <c:pt idx="808">
                  <c:v>-0.20386357981773173</c:v>
                </c:pt>
                <c:pt idx="809">
                  <c:v>-0.19889673960327203</c:v>
                </c:pt>
                <c:pt idx="810">
                  <c:v>-0.18735721201386901</c:v>
                </c:pt>
                <c:pt idx="811">
                  <c:v>-0.1867879635883809</c:v>
                </c:pt>
                <c:pt idx="812">
                  <c:v>-0.1995156645224736</c:v>
                </c:pt>
                <c:pt idx="813">
                  <c:v>-0.20063477583630285</c:v>
                </c:pt>
                <c:pt idx="814">
                  <c:v>-0.1965371151234323</c:v>
                </c:pt>
                <c:pt idx="815">
                  <c:v>-0.20212225930827432</c:v>
                </c:pt>
                <c:pt idx="816">
                  <c:v>-0.19576883308968285</c:v>
                </c:pt>
                <c:pt idx="817">
                  <c:v>-0.19359153022128028</c:v>
                </c:pt>
                <c:pt idx="818">
                  <c:v>-0.18147739567730437</c:v>
                </c:pt>
                <c:pt idx="819">
                  <c:v>-0.1790967763286575</c:v>
                </c:pt>
                <c:pt idx="820">
                  <c:v>-0.20331597081585551</c:v>
                </c:pt>
                <c:pt idx="821">
                  <c:v>-0.20791009228062785</c:v>
                </c:pt>
                <c:pt idx="822">
                  <c:v>-0.20336929727509589</c:v>
                </c:pt>
                <c:pt idx="823">
                  <c:v>-0.22074664704597069</c:v>
                </c:pt>
                <c:pt idx="824">
                  <c:v>-0.22035682545870006</c:v>
                </c:pt>
                <c:pt idx="825">
                  <c:v>-0.19682376167580107</c:v>
                </c:pt>
                <c:pt idx="826">
                  <c:v>-0.20892717588476428</c:v>
                </c:pt>
                <c:pt idx="827">
                  <c:v>-0.20654681633376559</c:v>
                </c:pt>
                <c:pt idx="828">
                  <c:v>-0.17597550766825798</c:v>
                </c:pt>
                <c:pt idx="829">
                  <c:v>-0.1539789606450287</c:v>
                </c:pt>
                <c:pt idx="830">
                  <c:v>-0.12574037474943545</c:v>
                </c:pt>
                <c:pt idx="831">
                  <c:v>-0.11744435165499245</c:v>
                </c:pt>
                <c:pt idx="832">
                  <c:v>-0.12410118266672543</c:v>
                </c:pt>
                <c:pt idx="833">
                  <c:v>-0.12724310747979817</c:v>
                </c:pt>
                <c:pt idx="834">
                  <c:v>-0.11251078653630076</c:v>
                </c:pt>
                <c:pt idx="835">
                  <c:v>-0.1299978301502801</c:v>
                </c:pt>
                <c:pt idx="836">
                  <c:v>-0.12351181760052399</c:v>
                </c:pt>
                <c:pt idx="837">
                  <c:v>-0.11954979166300761</c:v>
                </c:pt>
                <c:pt idx="838">
                  <c:v>-0.13715189304489184</c:v>
                </c:pt>
                <c:pt idx="839">
                  <c:v>-0.15115778951784731</c:v>
                </c:pt>
                <c:pt idx="840">
                  <c:v>-0.15697466433394303</c:v>
                </c:pt>
                <c:pt idx="841">
                  <c:v>-0.14991899196727143</c:v>
                </c:pt>
                <c:pt idx="842">
                  <c:v>-0.16338843811364179</c:v>
                </c:pt>
                <c:pt idx="843">
                  <c:v>-0.16580759608499518</c:v>
                </c:pt>
                <c:pt idx="844">
                  <c:v>-0.1665576941602509</c:v>
                </c:pt>
                <c:pt idx="845">
                  <c:v>-0.13775883939608002</c:v>
                </c:pt>
                <c:pt idx="846">
                  <c:v>-0.15491408350100955</c:v>
                </c:pt>
                <c:pt idx="847">
                  <c:v>-0.15211606652052734</c:v>
                </c:pt>
                <c:pt idx="848">
                  <c:v>-0.17392446075655432</c:v>
                </c:pt>
                <c:pt idx="849">
                  <c:v>-0.17276633362362748</c:v>
                </c:pt>
                <c:pt idx="850">
                  <c:v>-0.16229502139101526</c:v>
                </c:pt>
                <c:pt idx="851">
                  <c:v>-0.16521676272149011</c:v>
                </c:pt>
                <c:pt idx="852">
                  <c:v>-0.13788780617731089</c:v>
                </c:pt>
                <c:pt idx="853">
                  <c:v>-0.12926755497152898</c:v>
                </c:pt>
                <c:pt idx="854">
                  <c:v>-9.8527337168991536E-2</c:v>
                </c:pt>
                <c:pt idx="855">
                  <c:v>-0.11922553704835526</c:v>
                </c:pt>
                <c:pt idx="856">
                  <c:v>-0.12456568636154974</c:v>
                </c:pt>
                <c:pt idx="857">
                  <c:v>-0.12744511747388598</c:v>
                </c:pt>
                <c:pt idx="858">
                  <c:v>-0.10396910810627025</c:v>
                </c:pt>
                <c:pt idx="859">
                  <c:v>-0.12231277118843198</c:v>
                </c:pt>
                <c:pt idx="860">
                  <c:v>-0.12563535683246863</c:v>
                </c:pt>
                <c:pt idx="861">
                  <c:v>-0.10081793174873377</c:v>
                </c:pt>
                <c:pt idx="862">
                  <c:v>-0.10225432482900743</c:v>
                </c:pt>
                <c:pt idx="863">
                  <c:v>-8.1590102126861797E-2</c:v>
                </c:pt>
                <c:pt idx="864">
                  <c:v>-6.7130626842927255E-2</c:v>
                </c:pt>
                <c:pt idx="865">
                  <c:v>-6.7969454334026569E-2</c:v>
                </c:pt>
                <c:pt idx="866">
                  <c:v>-7.7745353586014754E-2</c:v>
                </c:pt>
                <c:pt idx="867">
                  <c:v>-7.6267381396248668E-2</c:v>
                </c:pt>
                <c:pt idx="868">
                  <c:v>-6.6465266696562608E-2</c:v>
                </c:pt>
                <c:pt idx="869">
                  <c:v>-7.762599219105093E-2</c:v>
                </c:pt>
                <c:pt idx="870">
                  <c:v>-7.2524879025692268E-2</c:v>
                </c:pt>
                <c:pt idx="871">
                  <c:v>-5.9069573932933217E-2</c:v>
                </c:pt>
                <c:pt idx="872">
                  <c:v>-5.8221973709271513E-2</c:v>
                </c:pt>
                <c:pt idx="873">
                  <c:v>-6.0195563026914978E-2</c:v>
                </c:pt>
                <c:pt idx="874">
                  <c:v>-4.9262076911396058E-2</c:v>
                </c:pt>
                <c:pt idx="875">
                  <c:v>-3.5469287725876097E-2</c:v>
                </c:pt>
                <c:pt idx="876">
                  <c:v>-4.4735354784466774E-2</c:v>
                </c:pt>
                <c:pt idx="877">
                  <c:v>-5.09044756924657E-2</c:v>
                </c:pt>
                <c:pt idx="878">
                  <c:v>-3.5373997044888417E-2</c:v>
                </c:pt>
                <c:pt idx="879">
                  <c:v>-2.9941670399123432E-2</c:v>
                </c:pt>
                <c:pt idx="880">
                  <c:v>-4.5218179526696267E-2</c:v>
                </c:pt>
                <c:pt idx="881">
                  <c:v>-4.892736281173049E-2</c:v>
                </c:pt>
                <c:pt idx="882">
                  <c:v>-5.0730973961204184E-2</c:v>
                </c:pt>
                <c:pt idx="883">
                  <c:v>-6.161622574259018E-2</c:v>
                </c:pt>
                <c:pt idx="884">
                  <c:v>-5.0987283315726328E-2</c:v>
                </c:pt>
                <c:pt idx="885">
                  <c:v>-6.2333053369949987E-2</c:v>
                </c:pt>
                <c:pt idx="886">
                  <c:v>-5.9039692292975454E-2</c:v>
                </c:pt>
                <c:pt idx="887">
                  <c:v>-6.9277638271983522E-2</c:v>
                </c:pt>
                <c:pt idx="888">
                  <c:v>-7.8675151724394654E-2</c:v>
                </c:pt>
                <c:pt idx="889">
                  <c:v>-0.10879778653936423</c:v>
                </c:pt>
                <c:pt idx="890">
                  <c:v>-0.12248698950311565</c:v>
                </c:pt>
                <c:pt idx="891">
                  <c:v>-0.11674583744651801</c:v>
                </c:pt>
                <c:pt idx="892">
                  <c:v>-0.10438636934345769</c:v>
                </c:pt>
                <c:pt idx="893">
                  <c:v>-9.7254681325932513E-2</c:v>
                </c:pt>
                <c:pt idx="894">
                  <c:v>-0.12380343717939679</c:v>
                </c:pt>
                <c:pt idx="895">
                  <c:v>-0.12275073806507486</c:v>
                </c:pt>
                <c:pt idx="896">
                  <c:v>-9.4592566895525643E-2</c:v>
                </c:pt>
                <c:pt idx="897">
                  <c:v>-8.0991237206177069E-2</c:v>
                </c:pt>
                <c:pt idx="898">
                  <c:v>-7.1614544101603284E-2</c:v>
                </c:pt>
                <c:pt idx="899">
                  <c:v>-8.4703287096128621E-2</c:v>
                </c:pt>
                <c:pt idx="900">
                  <c:v>-6.8874147605420766E-2</c:v>
                </c:pt>
                <c:pt idx="901">
                  <c:v>-6.2310319844331108E-2</c:v>
                </c:pt>
                <c:pt idx="902">
                  <c:v>-8.2674936259373055E-2</c:v>
                </c:pt>
                <c:pt idx="903">
                  <c:v>-8.6511587591488803E-2</c:v>
                </c:pt>
                <c:pt idx="904">
                  <c:v>-7.3353203075156026E-2</c:v>
                </c:pt>
                <c:pt idx="905">
                  <c:v>-6.2477947263411493E-2</c:v>
                </c:pt>
                <c:pt idx="906">
                  <c:v>-5.539339774651042E-2</c:v>
                </c:pt>
                <c:pt idx="907">
                  <c:v>-3.6705484138803257E-2</c:v>
                </c:pt>
                <c:pt idx="908">
                  <c:v>-3.8915977390804324E-2</c:v>
                </c:pt>
                <c:pt idx="909">
                  <c:v>-5.5445678025360601E-2</c:v>
                </c:pt>
                <c:pt idx="910">
                  <c:v>-5.1937848063194347E-2</c:v>
                </c:pt>
                <c:pt idx="911">
                  <c:v>-3.357578803587602E-2</c:v>
                </c:pt>
                <c:pt idx="912">
                  <c:v>-1.9356456657408483E-2</c:v>
                </c:pt>
                <c:pt idx="913">
                  <c:v>-3.460962458890382E-2</c:v>
                </c:pt>
                <c:pt idx="914">
                  <c:v>-4.1986329849066029E-2</c:v>
                </c:pt>
                <c:pt idx="915">
                  <c:v>-4.006646277461523E-2</c:v>
                </c:pt>
                <c:pt idx="916">
                  <c:v>-4.4366812120074872E-2</c:v>
                </c:pt>
                <c:pt idx="917">
                  <c:v>-2.5758805301330234E-2</c:v>
                </c:pt>
                <c:pt idx="918">
                  <c:v>-3.1954297795439346E-2</c:v>
                </c:pt>
                <c:pt idx="919">
                  <c:v>-3.9351292840567043E-2</c:v>
                </c:pt>
                <c:pt idx="920">
                  <c:v>-5.874122363371248E-2</c:v>
                </c:pt>
                <c:pt idx="921">
                  <c:v>-7.3564196489874556E-2</c:v>
                </c:pt>
                <c:pt idx="922">
                  <c:v>-6.8815153774122617E-2</c:v>
                </c:pt>
                <c:pt idx="923">
                  <c:v>-6.413583293881675E-2</c:v>
                </c:pt>
                <c:pt idx="924">
                  <c:v>-5.458716328802582E-2</c:v>
                </c:pt>
                <c:pt idx="925">
                  <c:v>-5.3072078613807916E-2</c:v>
                </c:pt>
                <c:pt idx="926">
                  <c:v>-3.6695909067963273E-2</c:v>
                </c:pt>
                <c:pt idx="927">
                  <c:v>-2.9123069006211644E-2</c:v>
                </c:pt>
                <c:pt idx="928">
                  <c:v>-2.3262644875464478E-2</c:v>
                </c:pt>
                <c:pt idx="929">
                  <c:v>-6.067614608186167E-3</c:v>
                </c:pt>
                <c:pt idx="930">
                  <c:v>-6.3657048967171725E-3</c:v>
                </c:pt>
                <c:pt idx="931">
                  <c:v>7.1298348908197529E-3</c:v>
                </c:pt>
                <c:pt idx="932">
                  <c:v>1.0235909858062886E-3</c:v>
                </c:pt>
                <c:pt idx="933">
                  <c:v>-1.0748501842270719E-2</c:v>
                </c:pt>
                <c:pt idx="934">
                  <c:v>-7.8713286954875672E-3</c:v>
                </c:pt>
                <c:pt idx="935">
                  <c:v>-7.6728632681412057E-3</c:v>
                </c:pt>
                <c:pt idx="936">
                  <c:v>-5.5845909090501689E-3</c:v>
                </c:pt>
                <c:pt idx="937">
                  <c:v>1.0892964410846639E-2</c:v>
                </c:pt>
                <c:pt idx="938">
                  <c:v>1.1702326271864072E-2</c:v>
                </c:pt>
                <c:pt idx="939">
                  <c:v>6.3685728358340299E-3</c:v>
                </c:pt>
                <c:pt idx="940">
                  <c:v>7.9813429846093964E-3</c:v>
                </c:pt>
                <c:pt idx="941">
                  <c:v>9.9001532758336008E-3</c:v>
                </c:pt>
                <c:pt idx="942">
                  <c:v>9.7991733584976703E-3</c:v>
                </c:pt>
                <c:pt idx="943">
                  <c:v>1.080998334183958E-2</c:v>
                </c:pt>
                <c:pt idx="944">
                  <c:v>-8.9046056148345265E-5</c:v>
                </c:pt>
                <c:pt idx="945">
                  <c:v>-6.4477802624685054E-3</c:v>
                </c:pt>
                <c:pt idx="946">
                  <c:v>-1.5700198397531784E-2</c:v>
                </c:pt>
                <c:pt idx="947">
                  <c:v>-3.1486960934302588E-2</c:v>
                </c:pt>
                <c:pt idx="948">
                  <c:v>-2.2296548490109647E-2</c:v>
                </c:pt>
                <c:pt idx="949">
                  <c:v>-1.2620226711886118E-2</c:v>
                </c:pt>
                <c:pt idx="950">
                  <c:v>-7.8579448471524094E-3</c:v>
                </c:pt>
                <c:pt idx="951">
                  <c:v>-2.0009823041438501E-2</c:v>
                </c:pt>
                <c:pt idx="952">
                  <c:v>-1.4689144421313638E-2</c:v>
                </c:pt>
                <c:pt idx="953">
                  <c:v>4.9065329716331263E-3</c:v>
                </c:pt>
                <c:pt idx="954">
                  <c:v>-4.9081661862637738E-4</c:v>
                </c:pt>
                <c:pt idx="955">
                  <c:v>7.4681820193263082E-3</c:v>
                </c:pt>
                <c:pt idx="956">
                  <c:v>4.655147606029475E-3</c:v>
                </c:pt>
                <c:pt idx="957">
                  <c:v>-1.6682834877136732E-2</c:v>
                </c:pt>
                <c:pt idx="958">
                  <c:v>-2.6515033043398417E-2</c:v>
                </c:pt>
                <c:pt idx="959">
                  <c:v>-1.8169473568732664E-2</c:v>
                </c:pt>
                <c:pt idx="960">
                  <c:v>-3.2107130884002966E-2</c:v>
                </c:pt>
                <c:pt idx="961">
                  <c:v>-2.124292737789768E-2</c:v>
                </c:pt>
                <c:pt idx="962">
                  <c:v>-7.7483043166035603E-3</c:v>
                </c:pt>
                <c:pt idx="963">
                  <c:v>-1.6598914089795302E-2</c:v>
                </c:pt>
                <c:pt idx="964">
                  <c:v>7.9961930198899633E-3</c:v>
                </c:pt>
                <c:pt idx="965">
                  <c:v>7.5931557575870112E-3</c:v>
                </c:pt>
                <c:pt idx="966">
                  <c:v>7.8955244149114812E-3</c:v>
                </c:pt>
                <c:pt idx="967">
                  <c:v>1.3979400819830401E-2</c:v>
                </c:pt>
                <c:pt idx="968">
                  <c:v>1.7642915314964425E-2</c:v>
                </c:pt>
                <c:pt idx="969">
                  <c:v>1.7337714000764226E-2</c:v>
                </c:pt>
                <c:pt idx="970">
                  <c:v>2.01942579229486E-2</c:v>
                </c:pt>
                <c:pt idx="971">
                  <c:v>1.8056339609768157E-2</c:v>
                </c:pt>
                <c:pt idx="972">
                  <c:v>1.8667540133848526E-2</c:v>
                </c:pt>
                <c:pt idx="973">
                  <c:v>1.1586435088231095E-2</c:v>
                </c:pt>
                <c:pt idx="974">
                  <c:v>8.2591797949078671E-3</c:v>
                </c:pt>
                <c:pt idx="975">
                  <c:v>1.7518599046228545E-2</c:v>
                </c:pt>
                <c:pt idx="976">
                  <c:v>2.0068770973662664E-2</c:v>
                </c:pt>
                <c:pt idx="977">
                  <c:v>1.8134315773692622E-2</c:v>
                </c:pt>
                <c:pt idx="978">
                  <c:v>1.6102111550591491E-2</c:v>
                </c:pt>
                <c:pt idx="979">
                  <c:v>1.3871594043695312E-2</c:v>
                </c:pt>
                <c:pt idx="980">
                  <c:v>7.4240799321296791E-3</c:v>
                </c:pt>
                <c:pt idx="981">
                  <c:v>6.8199879393662233E-3</c:v>
                </c:pt>
                <c:pt idx="982">
                  <c:v>1.8109332730014138E-3</c:v>
                </c:pt>
                <c:pt idx="983">
                  <c:v>4.5231457665710906E-3</c:v>
                </c:pt>
                <c:pt idx="984">
                  <c:v>-4.1408290209465903E-3</c:v>
                </c:pt>
                <c:pt idx="985">
                  <c:v>7.6290923430155644E-4</c:v>
                </c:pt>
                <c:pt idx="986">
                  <c:v>1.3637274707840596E-3</c:v>
                </c:pt>
                <c:pt idx="987">
                  <c:v>-2.0293726621647412E-3</c:v>
                </c:pt>
                <c:pt idx="988">
                  <c:v>-2.1291597461901013E-3</c:v>
                </c:pt>
                <c:pt idx="989">
                  <c:v>-2.3286940073885543E-3</c:v>
                </c:pt>
                <c:pt idx="990">
                  <c:v>-5.3127557401679848E-3</c:v>
                </c:pt>
                <c:pt idx="991">
                  <c:v>-1.3696336876715898E-2</c:v>
                </c:pt>
                <c:pt idx="992">
                  <c:v>-1.4287764218184895E-2</c:v>
                </c:pt>
                <c:pt idx="993">
                  <c:v>-2.2304864330673357E-2</c:v>
                </c:pt>
                <c:pt idx="994">
                  <c:v>-3.4756505410873051E-2</c:v>
                </c:pt>
                <c:pt idx="995">
                  <c:v>-4.1941940854464677E-2</c:v>
                </c:pt>
                <c:pt idx="996">
                  <c:v>-4.0694844151862086E-2</c:v>
                </c:pt>
                <c:pt idx="997">
                  <c:v>-3.5001352129425678E-2</c:v>
                </c:pt>
                <c:pt idx="998">
                  <c:v>-3.3938684682576548E-2</c:v>
                </c:pt>
                <c:pt idx="999">
                  <c:v>-4.4355212862376536E-2</c:v>
                </c:pt>
                <c:pt idx="1000">
                  <c:v>-4.5119117568321765E-2</c:v>
                </c:pt>
                <c:pt idx="1001">
                  <c:v>-5.3261072346144855E-2</c:v>
                </c:pt>
                <c:pt idx="1002">
                  <c:v>-4.1471167708965195E-2</c:v>
                </c:pt>
                <c:pt idx="1003">
                  <c:v>-4.9455739497188733E-2</c:v>
                </c:pt>
                <c:pt idx="1004">
                  <c:v>-4.2562187245355321E-2</c:v>
                </c:pt>
                <c:pt idx="1005">
                  <c:v>-4.0931771256491278E-2</c:v>
                </c:pt>
                <c:pt idx="1006">
                  <c:v>-2.1658442575223091E-2</c:v>
                </c:pt>
                <c:pt idx="1007">
                  <c:v>-2.0581081765164821E-2</c:v>
                </c:pt>
                <c:pt idx="1008">
                  <c:v>-1.7831008589214603E-2</c:v>
                </c:pt>
                <c:pt idx="1009">
                  <c:v>-2.8517318090222066E-2</c:v>
                </c:pt>
                <c:pt idx="1010">
                  <c:v>-3.7373482055313323E-2</c:v>
                </c:pt>
                <c:pt idx="1011">
                  <c:v>-3.9678254245124944E-2</c:v>
                </c:pt>
                <c:pt idx="1012">
                  <c:v>-2.2473793001959508E-2</c:v>
                </c:pt>
                <c:pt idx="1013">
                  <c:v>-1.2699518232460849E-2</c:v>
                </c:pt>
                <c:pt idx="1014">
                  <c:v>-1.012584543058026E-2</c:v>
                </c:pt>
                <c:pt idx="1015">
                  <c:v>-1.6029667426024075E-2</c:v>
                </c:pt>
                <c:pt idx="1016">
                  <c:v>-1.0090208678092627E-2</c:v>
                </c:pt>
                <c:pt idx="1017">
                  <c:v>-1.3739372998000099E-2</c:v>
                </c:pt>
                <c:pt idx="1018">
                  <c:v>-7.9856900000000453E-3</c:v>
                </c:pt>
                <c:pt idx="1019">
                  <c:v>-5.2999999999999714E-3</c:v>
                </c:pt>
                <c:pt idx="1020">
                  <c:v>0</c:v>
                </c:pt>
              </c:numCache>
            </c:numRef>
          </c:val>
          <c:smooth val="0"/>
          <c:extLst>
            <c:ext xmlns:c16="http://schemas.microsoft.com/office/drawing/2014/chart" uri="{C3380CC4-5D6E-409C-BE32-E72D297353CC}">
              <c16:uniqueId val="{00000001-1D55-4091-B462-1B341D70D85C}"/>
            </c:ext>
          </c:extLst>
        </c:ser>
        <c:ser>
          <c:idx val="2"/>
          <c:order val="2"/>
          <c:tx>
            <c:strRef>
              <c:f>'Graph '!$S$1</c:f>
              <c:strCache>
                <c:ptCount val="1"/>
                <c:pt idx="0">
                  <c:v>Porfolio return ZMW</c:v>
                </c:pt>
              </c:strCache>
            </c:strRef>
          </c:tx>
          <c:spPr>
            <a:ln w="12700" cap="rnd">
              <a:solidFill>
                <a:schemeClr val="accent1">
                  <a:lumMod val="20000"/>
                  <a:lumOff val="80000"/>
                </a:schemeClr>
              </a:solidFill>
              <a:prstDash val="solid"/>
              <a:round/>
            </a:ln>
            <a:effectLst/>
          </c:spPr>
          <c:marker>
            <c:symbol val="none"/>
          </c:marker>
          <c:cat>
            <c:numRef>
              <c:f>'Graph '!$P$2:$P$1022</c:f>
              <c:numCache>
                <c:formatCode>m/d/yyyy</c:formatCode>
                <c:ptCount val="1021"/>
                <c:pt idx="0">
                  <c:v>45930</c:v>
                </c:pt>
                <c:pt idx="1">
                  <c:v>45929</c:v>
                </c:pt>
                <c:pt idx="2">
                  <c:v>45926</c:v>
                </c:pt>
                <c:pt idx="3">
                  <c:v>45925</c:v>
                </c:pt>
                <c:pt idx="4">
                  <c:v>45924</c:v>
                </c:pt>
                <c:pt idx="5">
                  <c:v>45923</c:v>
                </c:pt>
                <c:pt idx="6">
                  <c:v>45922</c:v>
                </c:pt>
                <c:pt idx="7">
                  <c:v>45919</c:v>
                </c:pt>
                <c:pt idx="8">
                  <c:v>45918</c:v>
                </c:pt>
                <c:pt idx="9">
                  <c:v>45917</c:v>
                </c:pt>
                <c:pt idx="10">
                  <c:v>45916</c:v>
                </c:pt>
                <c:pt idx="11">
                  <c:v>45915</c:v>
                </c:pt>
                <c:pt idx="12">
                  <c:v>45912</c:v>
                </c:pt>
                <c:pt idx="13">
                  <c:v>45911</c:v>
                </c:pt>
                <c:pt idx="14">
                  <c:v>45910</c:v>
                </c:pt>
                <c:pt idx="15">
                  <c:v>45909</c:v>
                </c:pt>
                <c:pt idx="16">
                  <c:v>45908</c:v>
                </c:pt>
                <c:pt idx="17">
                  <c:v>45905</c:v>
                </c:pt>
                <c:pt idx="18">
                  <c:v>45904</c:v>
                </c:pt>
                <c:pt idx="19">
                  <c:v>45903</c:v>
                </c:pt>
                <c:pt idx="20">
                  <c:v>45902</c:v>
                </c:pt>
                <c:pt idx="21">
                  <c:v>45898</c:v>
                </c:pt>
                <c:pt idx="22">
                  <c:v>45897</c:v>
                </c:pt>
                <c:pt idx="23">
                  <c:v>45896</c:v>
                </c:pt>
                <c:pt idx="24">
                  <c:v>45895</c:v>
                </c:pt>
                <c:pt idx="25">
                  <c:v>45894</c:v>
                </c:pt>
                <c:pt idx="26">
                  <c:v>45891</c:v>
                </c:pt>
                <c:pt idx="27">
                  <c:v>45890</c:v>
                </c:pt>
                <c:pt idx="28">
                  <c:v>45889</c:v>
                </c:pt>
                <c:pt idx="29">
                  <c:v>45888</c:v>
                </c:pt>
                <c:pt idx="30">
                  <c:v>45887</c:v>
                </c:pt>
                <c:pt idx="31">
                  <c:v>45884</c:v>
                </c:pt>
                <c:pt idx="32">
                  <c:v>45883</c:v>
                </c:pt>
                <c:pt idx="33">
                  <c:v>45882</c:v>
                </c:pt>
                <c:pt idx="34">
                  <c:v>45881</c:v>
                </c:pt>
                <c:pt idx="35">
                  <c:v>45880</c:v>
                </c:pt>
                <c:pt idx="36">
                  <c:v>45877</c:v>
                </c:pt>
                <c:pt idx="37">
                  <c:v>45876</c:v>
                </c:pt>
                <c:pt idx="38">
                  <c:v>45875</c:v>
                </c:pt>
                <c:pt idx="39">
                  <c:v>45874</c:v>
                </c:pt>
                <c:pt idx="40">
                  <c:v>45873</c:v>
                </c:pt>
                <c:pt idx="41">
                  <c:v>45870</c:v>
                </c:pt>
                <c:pt idx="42">
                  <c:v>45869</c:v>
                </c:pt>
                <c:pt idx="43">
                  <c:v>45868</c:v>
                </c:pt>
                <c:pt idx="44">
                  <c:v>45867</c:v>
                </c:pt>
                <c:pt idx="45">
                  <c:v>45866</c:v>
                </c:pt>
                <c:pt idx="46">
                  <c:v>45863</c:v>
                </c:pt>
                <c:pt idx="47">
                  <c:v>45862</c:v>
                </c:pt>
                <c:pt idx="48">
                  <c:v>45861</c:v>
                </c:pt>
                <c:pt idx="49">
                  <c:v>45860</c:v>
                </c:pt>
                <c:pt idx="50">
                  <c:v>45859</c:v>
                </c:pt>
                <c:pt idx="51">
                  <c:v>45856</c:v>
                </c:pt>
                <c:pt idx="52">
                  <c:v>45855</c:v>
                </c:pt>
                <c:pt idx="53">
                  <c:v>45854</c:v>
                </c:pt>
                <c:pt idx="54">
                  <c:v>45853</c:v>
                </c:pt>
                <c:pt idx="55">
                  <c:v>45852</c:v>
                </c:pt>
                <c:pt idx="56">
                  <c:v>45849</c:v>
                </c:pt>
                <c:pt idx="57">
                  <c:v>45848</c:v>
                </c:pt>
                <c:pt idx="58">
                  <c:v>45847</c:v>
                </c:pt>
                <c:pt idx="59">
                  <c:v>45846</c:v>
                </c:pt>
                <c:pt idx="60">
                  <c:v>45845</c:v>
                </c:pt>
                <c:pt idx="61">
                  <c:v>45841</c:v>
                </c:pt>
                <c:pt idx="62">
                  <c:v>45840</c:v>
                </c:pt>
                <c:pt idx="63">
                  <c:v>45839</c:v>
                </c:pt>
                <c:pt idx="64">
                  <c:v>45838</c:v>
                </c:pt>
                <c:pt idx="65">
                  <c:v>45835</c:v>
                </c:pt>
                <c:pt idx="66">
                  <c:v>45834</c:v>
                </c:pt>
                <c:pt idx="67">
                  <c:v>45833</c:v>
                </c:pt>
                <c:pt idx="68">
                  <c:v>45832</c:v>
                </c:pt>
                <c:pt idx="69">
                  <c:v>45831</c:v>
                </c:pt>
                <c:pt idx="70">
                  <c:v>45828</c:v>
                </c:pt>
                <c:pt idx="71">
                  <c:v>45826</c:v>
                </c:pt>
                <c:pt idx="72">
                  <c:v>45825</c:v>
                </c:pt>
                <c:pt idx="73">
                  <c:v>45824</c:v>
                </c:pt>
                <c:pt idx="74">
                  <c:v>45821</c:v>
                </c:pt>
                <c:pt idx="75">
                  <c:v>45820</c:v>
                </c:pt>
                <c:pt idx="76">
                  <c:v>45819</c:v>
                </c:pt>
                <c:pt idx="77">
                  <c:v>45818</c:v>
                </c:pt>
                <c:pt idx="78">
                  <c:v>45817</c:v>
                </c:pt>
                <c:pt idx="79">
                  <c:v>45814</c:v>
                </c:pt>
                <c:pt idx="80">
                  <c:v>45813</c:v>
                </c:pt>
                <c:pt idx="81">
                  <c:v>45812</c:v>
                </c:pt>
                <c:pt idx="82">
                  <c:v>45811</c:v>
                </c:pt>
                <c:pt idx="83">
                  <c:v>45810</c:v>
                </c:pt>
                <c:pt idx="84">
                  <c:v>45807</c:v>
                </c:pt>
                <c:pt idx="85">
                  <c:v>45806</c:v>
                </c:pt>
                <c:pt idx="86">
                  <c:v>45805</c:v>
                </c:pt>
                <c:pt idx="87">
                  <c:v>45804</c:v>
                </c:pt>
                <c:pt idx="88">
                  <c:v>45800</c:v>
                </c:pt>
                <c:pt idx="89">
                  <c:v>45799</c:v>
                </c:pt>
                <c:pt idx="90">
                  <c:v>45798</c:v>
                </c:pt>
                <c:pt idx="91">
                  <c:v>45797</c:v>
                </c:pt>
                <c:pt idx="92">
                  <c:v>45796</c:v>
                </c:pt>
                <c:pt idx="93">
                  <c:v>45793</c:v>
                </c:pt>
                <c:pt idx="94">
                  <c:v>45792</c:v>
                </c:pt>
                <c:pt idx="95">
                  <c:v>45791</c:v>
                </c:pt>
                <c:pt idx="96">
                  <c:v>45790</c:v>
                </c:pt>
                <c:pt idx="97">
                  <c:v>45789</c:v>
                </c:pt>
                <c:pt idx="98">
                  <c:v>45786</c:v>
                </c:pt>
                <c:pt idx="99">
                  <c:v>45785</c:v>
                </c:pt>
                <c:pt idx="100">
                  <c:v>45784</c:v>
                </c:pt>
                <c:pt idx="101">
                  <c:v>45783</c:v>
                </c:pt>
                <c:pt idx="102">
                  <c:v>45782</c:v>
                </c:pt>
                <c:pt idx="103">
                  <c:v>45779</c:v>
                </c:pt>
                <c:pt idx="104">
                  <c:v>45778</c:v>
                </c:pt>
                <c:pt idx="105">
                  <c:v>45777</c:v>
                </c:pt>
                <c:pt idx="106">
                  <c:v>45776</c:v>
                </c:pt>
                <c:pt idx="107">
                  <c:v>45775</c:v>
                </c:pt>
                <c:pt idx="108">
                  <c:v>45772</c:v>
                </c:pt>
                <c:pt idx="109">
                  <c:v>45771</c:v>
                </c:pt>
                <c:pt idx="110">
                  <c:v>45770</c:v>
                </c:pt>
                <c:pt idx="111">
                  <c:v>45769</c:v>
                </c:pt>
                <c:pt idx="112">
                  <c:v>45768</c:v>
                </c:pt>
                <c:pt idx="113">
                  <c:v>45764</c:v>
                </c:pt>
                <c:pt idx="114">
                  <c:v>45763</c:v>
                </c:pt>
                <c:pt idx="115">
                  <c:v>45762</c:v>
                </c:pt>
                <c:pt idx="116">
                  <c:v>45761</c:v>
                </c:pt>
                <c:pt idx="117">
                  <c:v>45758</c:v>
                </c:pt>
                <c:pt idx="118">
                  <c:v>45757</c:v>
                </c:pt>
                <c:pt idx="119">
                  <c:v>45756</c:v>
                </c:pt>
                <c:pt idx="120">
                  <c:v>45755</c:v>
                </c:pt>
                <c:pt idx="121">
                  <c:v>45754</c:v>
                </c:pt>
                <c:pt idx="122">
                  <c:v>45751</c:v>
                </c:pt>
                <c:pt idx="123">
                  <c:v>45750</c:v>
                </c:pt>
                <c:pt idx="124">
                  <c:v>45749</c:v>
                </c:pt>
                <c:pt idx="125">
                  <c:v>45748</c:v>
                </c:pt>
                <c:pt idx="126">
                  <c:v>45747</c:v>
                </c:pt>
                <c:pt idx="127">
                  <c:v>45744</c:v>
                </c:pt>
                <c:pt idx="128">
                  <c:v>45743</c:v>
                </c:pt>
                <c:pt idx="129">
                  <c:v>45742</c:v>
                </c:pt>
                <c:pt idx="130">
                  <c:v>45741</c:v>
                </c:pt>
                <c:pt idx="131">
                  <c:v>45740</c:v>
                </c:pt>
                <c:pt idx="132">
                  <c:v>45737</c:v>
                </c:pt>
                <c:pt idx="133">
                  <c:v>45736</c:v>
                </c:pt>
                <c:pt idx="134">
                  <c:v>45735</c:v>
                </c:pt>
                <c:pt idx="135">
                  <c:v>45734</c:v>
                </c:pt>
                <c:pt idx="136">
                  <c:v>45733</c:v>
                </c:pt>
                <c:pt idx="137">
                  <c:v>45730</c:v>
                </c:pt>
                <c:pt idx="138">
                  <c:v>45729</c:v>
                </c:pt>
                <c:pt idx="139">
                  <c:v>45728</c:v>
                </c:pt>
                <c:pt idx="140">
                  <c:v>45727</c:v>
                </c:pt>
                <c:pt idx="141">
                  <c:v>45726</c:v>
                </c:pt>
                <c:pt idx="142">
                  <c:v>45723</c:v>
                </c:pt>
                <c:pt idx="143">
                  <c:v>45722</c:v>
                </c:pt>
                <c:pt idx="144">
                  <c:v>45721</c:v>
                </c:pt>
                <c:pt idx="145">
                  <c:v>45720</c:v>
                </c:pt>
                <c:pt idx="146">
                  <c:v>45719</c:v>
                </c:pt>
                <c:pt idx="147">
                  <c:v>45716</c:v>
                </c:pt>
                <c:pt idx="148">
                  <c:v>45715</c:v>
                </c:pt>
                <c:pt idx="149">
                  <c:v>45714</c:v>
                </c:pt>
                <c:pt idx="150">
                  <c:v>45713</c:v>
                </c:pt>
                <c:pt idx="151">
                  <c:v>45712</c:v>
                </c:pt>
                <c:pt idx="152">
                  <c:v>45709</c:v>
                </c:pt>
                <c:pt idx="153">
                  <c:v>45708</c:v>
                </c:pt>
                <c:pt idx="154">
                  <c:v>45707</c:v>
                </c:pt>
                <c:pt idx="155">
                  <c:v>45706</c:v>
                </c:pt>
                <c:pt idx="156">
                  <c:v>45702</c:v>
                </c:pt>
                <c:pt idx="157">
                  <c:v>45701</c:v>
                </c:pt>
                <c:pt idx="158">
                  <c:v>45700</c:v>
                </c:pt>
                <c:pt idx="159">
                  <c:v>45699</c:v>
                </c:pt>
                <c:pt idx="160">
                  <c:v>45698</c:v>
                </c:pt>
                <c:pt idx="161">
                  <c:v>45695</c:v>
                </c:pt>
                <c:pt idx="162">
                  <c:v>45694</c:v>
                </c:pt>
                <c:pt idx="163">
                  <c:v>45693</c:v>
                </c:pt>
                <c:pt idx="164">
                  <c:v>45692</c:v>
                </c:pt>
                <c:pt idx="165">
                  <c:v>45691</c:v>
                </c:pt>
                <c:pt idx="166">
                  <c:v>45688</c:v>
                </c:pt>
                <c:pt idx="167">
                  <c:v>45687</c:v>
                </c:pt>
                <c:pt idx="168">
                  <c:v>45686</c:v>
                </c:pt>
                <c:pt idx="169">
                  <c:v>45685</c:v>
                </c:pt>
                <c:pt idx="170">
                  <c:v>45684</c:v>
                </c:pt>
                <c:pt idx="171">
                  <c:v>45681</c:v>
                </c:pt>
                <c:pt idx="172">
                  <c:v>45680</c:v>
                </c:pt>
                <c:pt idx="173">
                  <c:v>45679</c:v>
                </c:pt>
                <c:pt idx="174">
                  <c:v>45678</c:v>
                </c:pt>
                <c:pt idx="175">
                  <c:v>45674</c:v>
                </c:pt>
                <c:pt idx="176">
                  <c:v>45673</c:v>
                </c:pt>
                <c:pt idx="177">
                  <c:v>45672</c:v>
                </c:pt>
                <c:pt idx="178">
                  <c:v>45671</c:v>
                </c:pt>
                <c:pt idx="179">
                  <c:v>45670</c:v>
                </c:pt>
                <c:pt idx="180">
                  <c:v>45667</c:v>
                </c:pt>
                <c:pt idx="181">
                  <c:v>45665</c:v>
                </c:pt>
                <c:pt idx="182">
                  <c:v>45664</c:v>
                </c:pt>
                <c:pt idx="183">
                  <c:v>45663</c:v>
                </c:pt>
                <c:pt idx="184">
                  <c:v>45660</c:v>
                </c:pt>
                <c:pt idx="185">
                  <c:v>45659</c:v>
                </c:pt>
                <c:pt idx="186">
                  <c:v>45657</c:v>
                </c:pt>
                <c:pt idx="187">
                  <c:v>45656</c:v>
                </c:pt>
                <c:pt idx="188">
                  <c:v>45653</c:v>
                </c:pt>
                <c:pt idx="189">
                  <c:v>45652</c:v>
                </c:pt>
                <c:pt idx="190">
                  <c:v>45650</c:v>
                </c:pt>
                <c:pt idx="191">
                  <c:v>45649</c:v>
                </c:pt>
                <c:pt idx="192">
                  <c:v>45646</c:v>
                </c:pt>
                <c:pt idx="193">
                  <c:v>45645</c:v>
                </c:pt>
                <c:pt idx="194">
                  <c:v>45644</c:v>
                </c:pt>
                <c:pt idx="195">
                  <c:v>45643</c:v>
                </c:pt>
                <c:pt idx="196">
                  <c:v>45642</c:v>
                </c:pt>
                <c:pt idx="197">
                  <c:v>45639</c:v>
                </c:pt>
                <c:pt idx="198">
                  <c:v>45638</c:v>
                </c:pt>
                <c:pt idx="199">
                  <c:v>45637</c:v>
                </c:pt>
                <c:pt idx="200">
                  <c:v>45636</c:v>
                </c:pt>
                <c:pt idx="201">
                  <c:v>45635</c:v>
                </c:pt>
                <c:pt idx="202">
                  <c:v>45632</c:v>
                </c:pt>
                <c:pt idx="203">
                  <c:v>45631</c:v>
                </c:pt>
                <c:pt idx="204">
                  <c:v>45630</c:v>
                </c:pt>
                <c:pt idx="205">
                  <c:v>45629</c:v>
                </c:pt>
                <c:pt idx="206">
                  <c:v>45628</c:v>
                </c:pt>
                <c:pt idx="207">
                  <c:v>45625</c:v>
                </c:pt>
                <c:pt idx="208">
                  <c:v>45623</c:v>
                </c:pt>
                <c:pt idx="209">
                  <c:v>45622</c:v>
                </c:pt>
                <c:pt idx="210">
                  <c:v>45621</c:v>
                </c:pt>
                <c:pt idx="211">
                  <c:v>45618</c:v>
                </c:pt>
                <c:pt idx="212">
                  <c:v>45617</c:v>
                </c:pt>
                <c:pt idx="213">
                  <c:v>45616</c:v>
                </c:pt>
                <c:pt idx="214">
                  <c:v>45615</c:v>
                </c:pt>
                <c:pt idx="215">
                  <c:v>45614</c:v>
                </c:pt>
                <c:pt idx="216">
                  <c:v>45611</c:v>
                </c:pt>
                <c:pt idx="217">
                  <c:v>45610</c:v>
                </c:pt>
                <c:pt idx="218">
                  <c:v>45609</c:v>
                </c:pt>
                <c:pt idx="219">
                  <c:v>45608</c:v>
                </c:pt>
                <c:pt idx="220">
                  <c:v>45607</c:v>
                </c:pt>
                <c:pt idx="221">
                  <c:v>45604</c:v>
                </c:pt>
                <c:pt idx="222">
                  <c:v>45603</c:v>
                </c:pt>
                <c:pt idx="223">
                  <c:v>45602</c:v>
                </c:pt>
                <c:pt idx="224">
                  <c:v>45601</c:v>
                </c:pt>
                <c:pt idx="225">
                  <c:v>45600</c:v>
                </c:pt>
                <c:pt idx="226">
                  <c:v>45597</c:v>
                </c:pt>
                <c:pt idx="227">
                  <c:v>45596</c:v>
                </c:pt>
                <c:pt idx="228">
                  <c:v>45595</c:v>
                </c:pt>
                <c:pt idx="229">
                  <c:v>45594</c:v>
                </c:pt>
                <c:pt idx="230">
                  <c:v>45593</c:v>
                </c:pt>
                <c:pt idx="231">
                  <c:v>45590</c:v>
                </c:pt>
                <c:pt idx="232">
                  <c:v>45589</c:v>
                </c:pt>
                <c:pt idx="233">
                  <c:v>45588</c:v>
                </c:pt>
                <c:pt idx="234">
                  <c:v>45587</c:v>
                </c:pt>
                <c:pt idx="235">
                  <c:v>45586</c:v>
                </c:pt>
                <c:pt idx="236">
                  <c:v>45583</c:v>
                </c:pt>
                <c:pt idx="237">
                  <c:v>45582</c:v>
                </c:pt>
                <c:pt idx="238">
                  <c:v>45581</c:v>
                </c:pt>
                <c:pt idx="239">
                  <c:v>45580</c:v>
                </c:pt>
                <c:pt idx="240">
                  <c:v>45579</c:v>
                </c:pt>
                <c:pt idx="241">
                  <c:v>45576</c:v>
                </c:pt>
                <c:pt idx="242">
                  <c:v>45575</c:v>
                </c:pt>
                <c:pt idx="243">
                  <c:v>45574</c:v>
                </c:pt>
                <c:pt idx="244">
                  <c:v>45573</c:v>
                </c:pt>
                <c:pt idx="245">
                  <c:v>45572</c:v>
                </c:pt>
                <c:pt idx="246">
                  <c:v>45569</c:v>
                </c:pt>
                <c:pt idx="247">
                  <c:v>45568</c:v>
                </c:pt>
                <c:pt idx="248">
                  <c:v>45567</c:v>
                </c:pt>
                <c:pt idx="249">
                  <c:v>45566</c:v>
                </c:pt>
                <c:pt idx="250">
                  <c:v>45565</c:v>
                </c:pt>
                <c:pt idx="251">
                  <c:v>45562</c:v>
                </c:pt>
                <c:pt idx="252">
                  <c:v>45561</c:v>
                </c:pt>
                <c:pt idx="253">
                  <c:v>45560</c:v>
                </c:pt>
                <c:pt idx="254">
                  <c:v>45559</c:v>
                </c:pt>
                <c:pt idx="255">
                  <c:v>45558</c:v>
                </c:pt>
                <c:pt idx="256">
                  <c:v>45555</c:v>
                </c:pt>
                <c:pt idx="257">
                  <c:v>45554</c:v>
                </c:pt>
                <c:pt idx="258">
                  <c:v>45553</c:v>
                </c:pt>
                <c:pt idx="259">
                  <c:v>45552</c:v>
                </c:pt>
                <c:pt idx="260">
                  <c:v>45551</c:v>
                </c:pt>
                <c:pt idx="261">
                  <c:v>45548</c:v>
                </c:pt>
                <c:pt idx="262">
                  <c:v>45547</c:v>
                </c:pt>
                <c:pt idx="263">
                  <c:v>45546</c:v>
                </c:pt>
                <c:pt idx="264">
                  <c:v>45545</c:v>
                </c:pt>
                <c:pt idx="265">
                  <c:v>45544</c:v>
                </c:pt>
                <c:pt idx="266">
                  <c:v>45541</c:v>
                </c:pt>
                <c:pt idx="267">
                  <c:v>45540</c:v>
                </c:pt>
                <c:pt idx="268">
                  <c:v>45539</c:v>
                </c:pt>
                <c:pt idx="269">
                  <c:v>45538</c:v>
                </c:pt>
                <c:pt idx="270">
                  <c:v>45534</c:v>
                </c:pt>
                <c:pt idx="271">
                  <c:v>45533</c:v>
                </c:pt>
                <c:pt idx="272">
                  <c:v>45532</c:v>
                </c:pt>
                <c:pt idx="273">
                  <c:v>45531</c:v>
                </c:pt>
                <c:pt idx="274">
                  <c:v>45530</c:v>
                </c:pt>
                <c:pt idx="275">
                  <c:v>45527</c:v>
                </c:pt>
                <c:pt idx="276">
                  <c:v>45526</c:v>
                </c:pt>
                <c:pt idx="277">
                  <c:v>45525</c:v>
                </c:pt>
                <c:pt idx="278">
                  <c:v>45524</c:v>
                </c:pt>
                <c:pt idx="279">
                  <c:v>45523</c:v>
                </c:pt>
                <c:pt idx="280">
                  <c:v>45520</c:v>
                </c:pt>
                <c:pt idx="281">
                  <c:v>45519</c:v>
                </c:pt>
                <c:pt idx="282">
                  <c:v>45518</c:v>
                </c:pt>
                <c:pt idx="283">
                  <c:v>45517</c:v>
                </c:pt>
                <c:pt idx="284">
                  <c:v>45516</c:v>
                </c:pt>
                <c:pt idx="285">
                  <c:v>45513</c:v>
                </c:pt>
                <c:pt idx="286">
                  <c:v>45512</c:v>
                </c:pt>
                <c:pt idx="287">
                  <c:v>45511</c:v>
                </c:pt>
                <c:pt idx="288">
                  <c:v>45510</c:v>
                </c:pt>
                <c:pt idx="289">
                  <c:v>45509</c:v>
                </c:pt>
                <c:pt idx="290">
                  <c:v>45506</c:v>
                </c:pt>
                <c:pt idx="291">
                  <c:v>45505</c:v>
                </c:pt>
                <c:pt idx="292">
                  <c:v>45504</c:v>
                </c:pt>
                <c:pt idx="293">
                  <c:v>45503</c:v>
                </c:pt>
                <c:pt idx="294">
                  <c:v>45502</c:v>
                </c:pt>
                <c:pt idx="295">
                  <c:v>45499</c:v>
                </c:pt>
                <c:pt idx="296">
                  <c:v>45498</c:v>
                </c:pt>
                <c:pt idx="297">
                  <c:v>45497</c:v>
                </c:pt>
                <c:pt idx="298">
                  <c:v>45496</c:v>
                </c:pt>
                <c:pt idx="299">
                  <c:v>45495</c:v>
                </c:pt>
                <c:pt idx="300">
                  <c:v>45492</c:v>
                </c:pt>
                <c:pt idx="301">
                  <c:v>45491</c:v>
                </c:pt>
                <c:pt idx="302">
                  <c:v>45490</c:v>
                </c:pt>
                <c:pt idx="303">
                  <c:v>45489</c:v>
                </c:pt>
                <c:pt idx="304">
                  <c:v>45488</c:v>
                </c:pt>
                <c:pt idx="305">
                  <c:v>45485</c:v>
                </c:pt>
                <c:pt idx="306">
                  <c:v>45484</c:v>
                </c:pt>
                <c:pt idx="307">
                  <c:v>45483</c:v>
                </c:pt>
                <c:pt idx="308">
                  <c:v>45482</c:v>
                </c:pt>
                <c:pt idx="309">
                  <c:v>45481</c:v>
                </c:pt>
                <c:pt idx="310">
                  <c:v>45478</c:v>
                </c:pt>
                <c:pt idx="311">
                  <c:v>45476</c:v>
                </c:pt>
                <c:pt idx="312">
                  <c:v>45475</c:v>
                </c:pt>
                <c:pt idx="313">
                  <c:v>45474</c:v>
                </c:pt>
                <c:pt idx="314">
                  <c:v>45471</c:v>
                </c:pt>
                <c:pt idx="315">
                  <c:v>45470</c:v>
                </c:pt>
                <c:pt idx="316">
                  <c:v>45469</c:v>
                </c:pt>
                <c:pt idx="317">
                  <c:v>45468</c:v>
                </c:pt>
                <c:pt idx="318">
                  <c:v>45467</c:v>
                </c:pt>
                <c:pt idx="319">
                  <c:v>45464</c:v>
                </c:pt>
                <c:pt idx="320">
                  <c:v>45463</c:v>
                </c:pt>
                <c:pt idx="321">
                  <c:v>45461</c:v>
                </c:pt>
                <c:pt idx="322">
                  <c:v>45460</c:v>
                </c:pt>
                <c:pt idx="323">
                  <c:v>45457</c:v>
                </c:pt>
                <c:pt idx="324">
                  <c:v>45456</c:v>
                </c:pt>
                <c:pt idx="325">
                  <c:v>45455</c:v>
                </c:pt>
                <c:pt idx="326">
                  <c:v>45454</c:v>
                </c:pt>
                <c:pt idx="327">
                  <c:v>45453</c:v>
                </c:pt>
                <c:pt idx="328">
                  <c:v>45450</c:v>
                </c:pt>
                <c:pt idx="329">
                  <c:v>45449</c:v>
                </c:pt>
                <c:pt idx="330">
                  <c:v>45448</c:v>
                </c:pt>
                <c:pt idx="331">
                  <c:v>45447</c:v>
                </c:pt>
                <c:pt idx="332">
                  <c:v>45446</c:v>
                </c:pt>
                <c:pt idx="333">
                  <c:v>45443</c:v>
                </c:pt>
                <c:pt idx="334">
                  <c:v>45442</c:v>
                </c:pt>
                <c:pt idx="335">
                  <c:v>45441</c:v>
                </c:pt>
                <c:pt idx="336">
                  <c:v>45440</c:v>
                </c:pt>
                <c:pt idx="337">
                  <c:v>45439</c:v>
                </c:pt>
                <c:pt idx="338">
                  <c:v>45435</c:v>
                </c:pt>
                <c:pt idx="339">
                  <c:v>45434</c:v>
                </c:pt>
                <c:pt idx="340">
                  <c:v>45433</c:v>
                </c:pt>
                <c:pt idx="341">
                  <c:v>45432</c:v>
                </c:pt>
                <c:pt idx="342">
                  <c:v>45429</c:v>
                </c:pt>
                <c:pt idx="343">
                  <c:v>45428</c:v>
                </c:pt>
                <c:pt idx="344">
                  <c:v>45427</c:v>
                </c:pt>
                <c:pt idx="345">
                  <c:v>45426</c:v>
                </c:pt>
                <c:pt idx="346">
                  <c:v>45425</c:v>
                </c:pt>
                <c:pt idx="347">
                  <c:v>45422</c:v>
                </c:pt>
                <c:pt idx="348">
                  <c:v>45421</c:v>
                </c:pt>
                <c:pt idx="349">
                  <c:v>45420</c:v>
                </c:pt>
                <c:pt idx="350">
                  <c:v>45419</c:v>
                </c:pt>
                <c:pt idx="351">
                  <c:v>45418</c:v>
                </c:pt>
                <c:pt idx="352">
                  <c:v>45415</c:v>
                </c:pt>
                <c:pt idx="353">
                  <c:v>45414</c:v>
                </c:pt>
                <c:pt idx="354">
                  <c:v>45413</c:v>
                </c:pt>
                <c:pt idx="355">
                  <c:v>45412</c:v>
                </c:pt>
                <c:pt idx="356">
                  <c:v>45411</c:v>
                </c:pt>
                <c:pt idx="357">
                  <c:v>45408</c:v>
                </c:pt>
                <c:pt idx="358">
                  <c:v>45407</c:v>
                </c:pt>
                <c:pt idx="359">
                  <c:v>45406</c:v>
                </c:pt>
                <c:pt idx="360">
                  <c:v>45405</c:v>
                </c:pt>
                <c:pt idx="361">
                  <c:v>45404</c:v>
                </c:pt>
                <c:pt idx="362">
                  <c:v>45401</c:v>
                </c:pt>
                <c:pt idx="363">
                  <c:v>45400</c:v>
                </c:pt>
                <c:pt idx="364">
                  <c:v>45399</c:v>
                </c:pt>
                <c:pt idx="365">
                  <c:v>45398</c:v>
                </c:pt>
                <c:pt idx="366">
                  <c:v>45397</c:v>
                </c:pt>
                <c:pt idx="367">
                  <c:v>45394</c:v>
                </c:pt>
                <c:pt idx="368">
                  <c:v>45393</c:v>
                </c:pt>
                <c:pt idx="369">
                  <c:v>45392</c:v>
                </c:pt>
                <c:pt idx="370">
                  <c:v>45391</c:v>
                </c:pt>
                <c:pt idx="371">
                  <c:v>45390</c:v>
                </c:pt>
                <c:pt idx="372">
                  <c:v>45387</c:v>
                </c:pt>
                <c:pt idx="373">
                  <c:v>45386</c:v>
                </c:pt>
                <c:pt idx="374">
                  <c:v>45385</c:v>
                </c:pt>
                <c:pt idx="375">
                  <c:v>45384</c:v>
                </c:pt>
                <c:pt idx="376">
                  <c:v>45383</c:v>
                </c:pt>
                <c:pt idx="377">
                  <c:v>45379</c:v>
                </c:pt>
                <c:pt idx="378">
                  <c:v>45378</c:v>
                </c:pt>
                <c:pt idx="379">
                  <c:v>45377</c:v>
                </c:pt>
                <c:pt idx="380">
                  <c:v>45376</c:v>
                </c:pt>
                <c:pt idx="381">
                  <c:v>45373</c:v>
                </c:pt>
                <c:pt idx="382">
                  <c:v>45372</c:v>
                </c:pt>
                <c:pt idx="383">
                  <c:v>45371</c:v>
                </c:pt>
                <c:pt idx="384">
                  <c:v>45370</c:v>
                </c:pt>
                <c:pt idx="385">
                  <c:v>45369</c:v>
                </c:pt>
                <c:pt idx="386">
                  <c:v>45366</c:v>
                </c:pt>
                <c:pt idx="387">
                  <c:v>45365</c:v>
                </c:pt>
                <c:pt idx="388">
                  <c:v>45364</c:v>
                </c:pt>
                <c:pt idx="389">
                  <c:v>45363</c:v>
                </c:pt>
                <c:pt idx="390">
                  <c:v>45362</c:v>
                </c:pt>
                <c:pt idx="391">
                  <c:v>45359</c:v>
                </c:pt>
                <c:pt idx="392">
                  <c:v>45358</c:v>
                </c:pt>
                <c:pt idx="393">
                  <c:v>45357</c:v>
                </c:pt>
                <c:pt idx="394">
                  <c:v>45356</c:v>
                </c:pt>
                <c:pt idx="395">
                  <c:v>45355</c:v>
                </c:pt>
                <c:pt idx="396">
                  <c:v>45352</c:v>
                </c:pt>
                <c:pt idx="397">
                  <c:v>45351</c:v>
                </c:pt>
                <c:pt idx="398">
                  <c:v>45350</c:v>
                </c:pt>
                <c:pt idx="399">
                  <c:v>45349</c:v>
                </c:pt>
                <c:pt idx="400">
                  <c:v>45348</c:v>
                </c:pt>
                <c:pt idx="401">
                  <c:v>45345</c:v>
                </c:pt>
                <c:pt idx="402">
                  <c:v>45344</c:v>
                </c:pt>
                <c:pt idx="403">
                  <c:v>45343</c:v>
                </c:pt>
                <c:pt idx="404">
                  <c:v>45342</c:v>
                </c:pt>
                <c:pt idx="405">
                  <c:v>45338</c:v>
                </c:pt>
                <c:pt idx="406">
                  <c:v>45337</c:v>
                </c:pt>
                <c:pt idx="407">
                  <c:v>45336</c:v>
                </c:pt>
                <c:pt idx="408">
                  <c:v>45335</c:v>
                </c:pt>
                <c:pt idx="409">
                  <c:v>45334</c:v>
                </c:pt>
                <c:pt idx="410">
                  <c:v>45331</c:v>
                </c:pt>
                <c:pt idx="411">
                  <c:v>45330</c:v>
                </c:pt>
                <c:pt idx="412">
                  <c:v>45329</c:v>
                </c:pt>
                <c:pt idx="413">
                  <c:v>45328</c:v>
                </c:pt>
                <c:pt idx="414">
                  <c:v>45327</c:v>
                </c:pt>
                <c:pt idx="415">
                  <c:v>45324</c:v>
                </c:pt>
                <c:pt idx="416">
                  <c:v>45323</c:v>
                </c:pt>
                <c:pt idx="417">
                  <c:v>45322</c:v>
                </c:pt>
                <c:pt idx="418">
                  <c:v>45321</c:v>
                </c:pt>
                <c:pt idx="419">
                  <c:v>45320</c:v>
                </c:pt>
                <c:pt idx="420">
                  <c:v>45317</c:v>
                </c:pt>
                <c:pt idx="421">
                  <c:v>45316</c:v>
                </c:pt>
                <c:pt idx="422">
                  <c:v>45315</c:v>
                </c:pt>
                <c:pt idx="423">
                  <c:v>45314</c:v>
                </c:pt>
                <c:pt idx="424">
                  <c:v>45313</c:v>
                </c:pt>
                <c:pt idx="425">
                  <c:v>45310</c:v>
                </c:pt>
                <c:pt idx="426">
                  <c:v>45309</c:v>
                </c:pt>
                <c:pt idx="427">
                  <c:v>45308</c:v>
                </c:pt>
                <c:pt idx="428">
                  <c:v>45307</c:v>
                </c:pt>
                <c:pt idx="429">
                  <c:v>45303</c:v>
                </c:pt>
                <c:pt idx="430">
                  <c:v>45302</c:v>
                </c:pt>
                <c:pt idx="431">
                  <c:v>45301</c:v>
                </c:pt>
                <c:pt idx="432">
                  <c:v>45300</c:v>
                </c:pt>
                <c:pt idx="433">
                  <c:v>45299</c:v>
                </c:pt>
                <c:pt idx="434">
                  <c:v>45296</c:v>
                </c:pt>
                <c:pt idx="435">
                  <c:v>45295</c:v>
                </c:pt>
                <c:pt idx="436">
                  <c:v>45294</c:v>
                </c:pt>
                <c:pt idx="437">
                  <c:v>45293</c:v>
                </c:pt>
                <c:pt idx="438">
                  <c:v>45289</c:v>
                </c:pt>
                <c:pt idx="439">
                  <c:v>45288</c:v>
                </c:pt>
                <c:pt idx="440">
                  <c:v>45287</c:v>
                </c:pt>
                <c:pt idx="441">
                  <c:v>45286</c:v>
                </c:pt>
                <c:pt idx="442">
                  <c:v>45282</c:v>
                </c:pt>
                <c:pt idx="443">
                  <c:v>45281</c:v>
                </c:pt>
                <c:pt idx="444">
                  <c:v>45280</c:v>
                </c:pt>
                <c:pt idx="445">
                  <c:v>45279</c:v>
                </c:pt>
                <c:pt idx="446">
                  <c:v>45278</c:v>
                </c:pt>
                <c:pt idx="447">
                  <c:v>45275</c:v>
                </c:pt>
                <c:pt idx="448">
                  <c:v>45274</c:v>
                </c:pt>
                <c:pt idx="449">
                  <c:v>45273</c:v>
                </c:pt>
                <c:pt idx="450">
                  <c:v>45272</c:v>
                </c:pt>
                <c:pt idx="451">
                  <c:v>45271</c:v>
                </c:pt>
                <c:pt idx="452">
                  <c:v>45268</c:v>
                </c:pt>
                <c:pt idx="453">
                  <c:v>45267</c:v>
                </c:pt>
                <c:pt idx="454">
                  <c:v>45266</c:v>
                </c:pt>
                <c:pt idx="455">
                  <c:v>45265</c:v>
                </c:pt>
                <c:pt idx="456">
                  <c:v>45264</c:v>
                </c:pt>
                <c:pt idx="457">
                  <c:v>45261</c:v>
                </c:pt>
                <c:pt idx="458">
                  <c:v>45260</c:v>
                </c:pt>
                <c:pt idx="459">
                  <c:v>45259</c:v>
                </c:pt>
                <c:pt idx="460">
                  <c:v>45258</c:v>
                </c:pt>
                <c:pt idx="461">
                  <c:v>45257</c:v>
                </c:pt>
                <c:pt idx="462">
                  <c:v>45254</c:v>
                </c:pt>
                <c:pt idx="463">
                  <c:v>45252</c:v>
                </c:pt>
                <c:pt idx="464">
                  <c:v>45251</c:v>
                </c:pt>
                <c:pt idx="465">
                  <c:v>45250</c:v>
                </c:pt>
                <c:pt idx="466">
                  <c:v>45247</c:v>
                </c:pt>
                <c:pt idx="467">
                  <c:v>45246</c:v>
                </c:pt>
                <c:pt idx="468">
                  <c:v>45245</c:v>
                </c:pt>
                <c:pt idx="469">
                  <c:v>45244</c:v>
                </c:pt>
                <c:pt idx="470">
                  <c:v>45243</c:v>
                </c:pt>
                <c:pt idx="471">
                  <c:v>45240</c:v>
                </c:pt>
                <c:pt idx="472">
                  <c:v>45239</c:v>
                </c:pt>
                <c:pt idx="473">
                  <c:v>45238</c:v>
                </c:pt>
                <c:pt idx="474">
                  <c:v>45237</c:v>
                </c:pt>
                <c:pt idx="475">
                  <c:v>45236</c:v>
                </c:pt>
                <c:pt idx="476">
                  <c:v>45233</c:v>
                </c:pt>
                <c:pt idx="477">
                  <c:v>45232</c:v>
                </c:pt>
                <c:pt idx="478">
                  <c:v>45231</c:v>
                </c:pt>
                <c:pt idx="479">
                  <c:v>45230</c:v>
                </c:pt>
                <c:pt idx="480">
                  <c:v>45229</c:v>
                </c:pt>
                <c:pt idx="481">
                  <c:v>45226</c:v>
                </c:pt>
                <c:pt idx="482">
                  <c:v>45225</c:v>
                </c:pt>
                <c:pt idx="483">
                  <c:v>45224</c:v>
                </c:pt>
                <c:pt idx="484">
                  <c:v>45223</c:v>
                </c:pt>
                <c:pt idx="485">
                  <c:v>45222</c:v>
                </c:pt>
                <c:pt idx="486">
                  <c:v>45219</c:v>
                </c:pt>
                <c:pt idx="487">
                  <c:v>45218</c:v>
                </c:pt>
                <c:pt idx="488">
                  <c:v>45217</c:v>
                </c:pt>
                <c:pt idx="489">
                  <c:v>45216</c:v>
                </c:pt>
                <c:pt idx="490">
                  <c:v>45215</c:v>
                </c:pt>
                <c:pt idx="491">
                  <c:v>45212</c:v>
                </c:pt>
                <c:pt idx="492">
                  <c:v>45211</c:v>
                </c:pt>
                <c:pt idx="493">
                  <c:v>45210</c:v>
                </c:pt>
                <c:pt idx="494">
                  <c:v>45209</c:v>
                </c:pt>
                <c:pt idx="495">
                  <c:v>45208</c:v>
                </c:pt>
                <c:pt idx="496">
                  <c:v>45205</c:v>
                </c:pt>
                <c:pt idx="497">
                  <c:v>45204</c:v>
                </c:pt>
                <c:pt idx="498">
                  <c:v>45203</c:v>
                </c:pt>
                <c:pt idx="499">
                  <c:v>45202</c:v>
                </c:pt>
                <c:pt idx="500">
                  <c:v>45201</c:v>
                </c:pt>
                <c:pt idx="501">
                  <c:v>45198</c:v>
                </c:pt>
                <c:pt idx="502">
                  <c:v>45197</c:v>
                </c:pt>
                <c:pt idx="503">
                  <c:v>45196</c:v>
                </c:pt>
                <c:pt idx="504">
                  <c:v>45195</c:v>
                </c:pt>
                <c:pt idx="505">
                  <c:v>45194</c:v>
                </c:pt>
                <c:pt idx="506">
                  <c:v>45191</c:v>
                </c:pt>
                <c:pt idx="507">
                  <c:v>45190</c:v>
                </c:pt>
                <c:pt idx="508">
                  <c:v>45189</c:v>
                </c:pt>
                <c:pt idx="509">
                  <c:v>45188</c:v>
                </c:pt>
                <c:pt idx="510">
                  <c:v>45187</c:v>
                </c:pt>
                <c:pt idx="511">
                  <c:v>45184</c:v>
                </c:pt>
                <c:pt idx="512">
                  <c:v>45183</c:v>
                </c:pt>
                <c:pt idx="513">
                  <c:v>45182</c:v>
                </c:pt>
                <c:pt idx="514">
                  <c:v>45181</c:v>
                </c:pt>
                <c:pt idx="515">
                  <c:v>45180</c:v>
                </c:pt>
                <c:pt idx="516">
                  <c:v>45177</c:v>
                </c:pt>
                <c:pt idx="517">
                  <c:v>45176</c:v>
                </c:pt>
                <c:pt idx="518">
                  <c:v>45175</c:v>
                </c:pt>
                <c:pt idx="519">
                  <c:v>45174</c:v>
                </c:pt>
                <c:pt idx="520">
                  <c:v>45170</c:v>
                </c:pt>
                <c:pt idx="521">
                  <c:v>45169</c:v>
                </c:pt>
                <c:pt idx="522">
                  <c:v>45168</c:v>
                </c:pt>
                <c:pt idx="523">
                  <c:v>45167</c:v>
                </c:pt>
                <c:pt idx="524">
                  <c:v>45166</c:v>
                </c:pt>
                <c:pt idx="525">
                  <c:v>45163</c:v>
                </c:pt>
                <c:pt idx="526">
                  <c:v>45162</c:v>
                </c:pt>
                <c:pt idx="527">
                  <c:v>45161</c:v>
                </c:pt>
                <c:pt idx="528">
                  <c:v>45160</c:v>
                </c:pt>
                <c:pt idx="529">
                  <c:v>45159</c:v>
                </c:pt>
                <c:pt idx="530">
                  <c:v>45156</c:v>
                </c:pt>
                <c:pt idx="531">
                  <c:v>45155</c:v>
                </c:pt>
                <c:pt idx="532">
                  <c:v>45154</c:v>
                </c:pt>
                <c:pt idx="533">
                  <c:v>45153</c:v>
                </c:pt>
                <c:pt idx="534">
                  <c:v>45152</c:v>
                </c:pt>
                <c:pt idx="535">
                  <c:v>45149</c:v>
                </c:pt>
                <c:pt idx="536">
                  <c:v>45148</c:v>
                </c:pt>
                <c:pt idx="537">
                  <c:v>45147</c:v>
                </c:pt>
                <c:pt idx="538">
                  <c:v>45146</c:v>
                </c:pt>
                <c:pt idx="539">
                  <c:v>45145</c:v>
                </c:pt>
                <c:pt idx="540">
                  <c:v>45142</c:v>
                </c:pt>
                <c:pt idx="541">
                  <c:v>45141</c:v>
                </c:pt>
                <c:pt idx="542">
                  <c:v>45140</c:v>
                </c:pt>
                <c:pt idx="543">
                  <c:v>45139</c:v>
                </c:pt>
                <c:pt idx="544">
                  <c:v>45138</c:v>
                </c:pt>
                <c:pt idx="545">
                  <c:v>45135</c:v>
                </c:pt>
                <c:pt idx="546">
                  <c:v>45134</c:v>
                </c:pt>
                <c:pt idx="547">
                  <c:v>45133</c:v>
                </c:pt>
                <c:pt idx="548">
                  <c:v>45132</c:v>
                </c:pt>
                <c:pt idx="549">
                  <c:v>45131</c:v>
                </c:pt>
                <c:pt idx="550">
                  <c:v>45128</c:v>
                </c:pt>
                <c:pt idx="551">
                  <c:v>45127</c:v>
                </c:pt>
                <c:pt idx="552">
                  <c:v>45126</c:v>
                </c:pt>
                <c:pt idx="553">
                  <c:v>45125</c:v>
                </c:pt>
                <c:pt idx="554">
                  <c:v>45124</c:v>
                </c:pt>
                <c:pt idx="555">
                  <c:v>45121</c:v>
                </c:pt>
                <c:pt idx="556">
                  <c:v>45120</c:v>
                </c:pt>
                <c:pt idx="557">
                  <c:v>45119</c:v>
                </c:pt>
                <c:pt idx="558">
                  <c:v>45118</c:v>
                </c:pt>
                <c:pt idx="559">
                  <c:v>45117</c:v>
                </c:pt>
                <c:pt idx="560">
                  <c:v>45114</c:v>
                </c:pt>
                <c:pt idx="561">
                  <c:v>45113</c:v>
                </c:pt>
                <c:pt idx="562">
                  <c:v>45112</c:v>
                </c:pt>
                <c:pt idx="563">
                  <c:v>45111</c:v>
                </c:pt>
                <c:pt idx="564">
                  <c:v>45107</c:v>
                </c:pt>
                <c:pt idx="565">
                  <c:v>45106</c:v>
                </c:pt>
                <c:pt idx="566">
                  <c:v>45105</c:v>
                </c:pt>
                <c:pt idx="567">
                  <c:v>45104</c:v>
                </c:pt>
                <c:pt idx="568">
                  <c:v>45103</c:v>
                </c:pt>
                <c:pt idx="569">
                  <c:v>45100</c:v>
                </c:pt>
                <c:pt idx="570">
                  <c:v>45099</c:v>
                </c:pt>
                <c:pt idx="571">
                  <c:v>45098</c:v>
                </c:pt>
                <c:pt idx="572">
                  <c:v>45097</c:v>
                </c:pt>
                <c:pt idx="573">
                  <c:v>45093</c:v>
                </c:pt>
                <c:pt idx="574">
                  <c:v>45092</c:v>
                </c:pt>
                <c:pt idx="575">
                  <c:v>45091</c:v>
                </c:pt>
                <c:pt idx="576">
                  <c:v>45090</c:v>
                </c:pt>
                <c:pt idx="577">
                  <c:v>45089</c:v>
                </c:pt>
                <c:pt idx="578">
                  <c:v>45086</c:v>
                </c:pt>
                <c:pt idx="579">
                  <c:v>45085</c:v>
                </c:pt>
                <c:pt idx="580">
                  <c:v>45084</c:v>
                </c:pt>
                <c:pt idx="581">
                  <c:v>45083</c:v>
                </c:pt>
                <c:pt idx="582">
                  <c:v>45082</c:v>
                </c:pt>
                <c:pt idx="583">
                  <c:v>45079</c:v>
                </c:pt>
                <c:pt idx="584">
                  <c:v>45078</c:v>
                </c:pt>
                <c:pt idx="585">
                  <c:v>45077</c:v>
                </c:pt>
                <c:pt idx="586">
                  <c:v>45076</c:v>
                </c:pt>
                <c:pt idx="587">
                  <c:v>45072</c:v>
                </c:pt>
                <c:pt idx="588">
                  <c:v>45071</c:v>
                </c:pt>
                <c:pt idx="589">
                  <c:v>45070</c:v>
                </c:pt>
                <c:pt idx="590">
                  <c:v>45069</c:v>
                </c:pt>
                <c:pt idx="591">
                  <c:v>45068</c:v>
                </c:pt>
                <c:pt idx="592">
                  <c:v>45065</c:v>
                </c:pt>
                <c:pt idx="593">
                  <c:v>45064</c:v>
                </c:pt>
                <c:pt idx="594">
                  <c:v>45063</c:v>
                </c:pt>
                <c:pt idx="595">
                  <c:v>45062</c:v>
                </c:pt>
                <c:pt idx="596">
                  <c:v>45061</c:v>
                </c:pt>
                <c:pt idx="597">
                  <c:v>45058</c:v>
                </c:pt>
                <c:pt idx="598">
                  <c:v>45057</c:v>
                </c:pt>
                <c:pt idx="599">
                  <c:v>45056</c:v>
                </c:pt>
                <c:pt idx="600">
                  <c:v>45055</c:v>
                </c:pt>
                <c:pt idx="601">
                  <c:v>45054</c:v>
                </c:pt>
                <c:pt idx="602">
                  <c:v>45051</c:v>
                </c:pt>
                <c:pt idx="603">
                  <c:v>45050</c:v>
                </c:pt>
                <c:pt idx="604">
                  <c:v>45049</c:v>
                </c:pt>
                <c:pt idx="605">
                  <c:v>45048</c:v>
                </c:pt>
                <c:pt idx="606">
                  <c:v>45047</c:v>
                </c:pt>
                <c:pt idx="607">
                  <c:v>45044</c:v>
                </c:pt>
                <c:pt idx="608">
                  <c:v>45043</c:v>
                </c:pt>
                <c:pt idx="609">
                  <c:v>45042</c:v>
                </c:pt>
                <c:pt idx="610">
                  <c:v>45041</c:v>
                </c:pt>
                <c:pt idx="611">
                  <c:v>45040</c:v>
                </c:pt>
                <c:pt idx="612">
                  <c:v>45037</c:v>
                </c:pt>
                <c:pt idx="613">
                  <c:v>45036</c:v>
                </c:pt>
                <c:pt idx="614">
                  <c:v>45035</c:v>
                </c:pt>
                <c:pt idx="615">
                  <c:v>45034</c:v>
                </c:pt>
                <c:pt idx="616">
                  <c:v>45033</c:v>
                </c:pt>
                <c:pt idx="617">
                  <c:v>45030</c:v>
                </c:pt>
                <c:pt idx="618">
                  <c:v>45029</c:v>
                </c:pt>
                <c:pt idx="619">
                  <c:v>45028</c:v>
                </c:pt>
                <c:pt idx="620">
                  <c:v>45027</c:v>
                </c:pt>
                <c:pt idx="621">
                  <c:v>45026</c:v>
                </c:pt>
                <c:pt idx="622">
                  <c:v>45023</c:v>
                </c:pt>
                <c:pt idx="623">
                  <c:v>45022</c:v>
                </c:pt>
                <c:pt idx="624">
                  <c:v>45021</c:v>
                </c:pt>
                <c:pt idx="625">
                  <c:v>45020</c:v>
                </c:pt>
                <c:pt idx="626">
                  <c:v>45016</c:v>
                </c:pt>
                <c:pt idx="627">
                  <c:v>45015</c:v>
                </c:pt>
                <c:pt idx="628">
                  <c:v>45014</c:v>
                </c:pt>
                <c:pt idx="629">
                  <c:v>45013</c:v>
                </c:pt>
                <c:pt idx="630">
                  <c:v>45012</c:v>
                </c:pt>
                <c:pt idx="631">
                  <c:v>45009</c:v>
                </c:pt>
                <c:pt idx="632">
                  <c:v>45008</c:v>
                </c:pt>
                <c:pt idx="633">
                  <c:v>45007</c:v>
                </c:pt>
                <c:pt idx="634">
                  <c:v>45006</c:v>
                </c:pt>
                <c:pt idx="635">
                  <c:v>45005</c:v>
                </c:pt>
                <c:pt idx="636">
                  <c:v>45002</c:v>
                </c:pt>
                <c:pt idx="637">
                  <c:v>45001</c:v>
                </c:pt>
                <c:pt idx="638">
                  <c:v>45000</c:v>
                </c:pt>
                <c:pt idx="639">
                  <c:v>44999</c:v>
                </c:pt>
                <c:pt idx="640">
                  <c:v>44998</c:v>
                </c:pt>
                <c:pt idx="641">
                  <c:v>44995</c:v>
                </c:pt>
                <c:pt idx="642">
                  <c:v>44994</c:v>
                </c:pt>
                <c:pt idx="643">
                  <c:v>44993</c:v>
                </c:pt>
                <c:pt idx="644">
                  <c:v>44992</c:v>
                </c:pt>
                <c:pt idx="645">
                  <c:v>44991</c:v>
                </c:pt>
                <c:pt idx="646">
                  <c:v>44988</c:v>
                </c:pt>
                <c:pt idx="647">
                  <c:v>44987</c:v>
                </c:pt>
                <c:pt idx="648">
                  <c:v>44986</c:v>
                </c:pt>
                <c:pt idx="649">
                  <c:v>44985</c:v>
                </c:pt>
                <c:pt idx="650">
                  <c:v>44984</c:v>
                </c:pt>
                <c:pt idx="651">
                  <c:v>44981</c:v>
                </c:pt>
                <c:pt idx="652">
                  <c:v>44980</c:v>
                </c:pt>
                <c:pt idx="653">
                  <c:v>44979</c:v>
                </c:pt>
                <c:pt idx="654">
                  <c:v>44978</c:v>
                </c:pt>
                <c:pt idx="655">
                  <c:v>44974</c:v>
                </c:pt>
                <c:pt idx="656">
                  <c:v>44973</c:v>
                </c:pt>
                <c:pt idx="657">
                  <c:v>44972</c:v>
                </c:pt>
                <c:pt idx="658">
                  <c:v>44971</c:v>
                </c:pt>
                <c:pt idx="659">
                  <c:v>44970</c:v>
                </c:pt>
                <c:pt idx="660">
                  <c:v>44967</c:v>
                </c:pt>
                <c:pt idx="661">
                  <c:v>44966</c:v>
                </c:pt>
                <c:pt idx="662">
                  <c:v>44965</c:v>
                </c:pt>
                <c:pt idx="663">
                  <c:v>44964</c:v>
                </c:pt>
                <c:pt idx="664">
                  <c:v>44963</c:v>
                </c:pt>
                <c:pt idx="665">
                  <c:v>44960</c:v>
                </c:pt>
                <c:pt idx="666">
                  <c:v>44959</c:v>
                </c:pt>
                <c:pt idx="667">
                  <c:v>44958</c:v>
                </c:pt>
                <c:pt idx="668">
                  <c:v>44957</c:v>
                </c:pt>
                <c:pt idx="669">
                  <c:v>44956</c:v>
                </c:pt>
                <c:pt idx="670">
                  <c:v>44953</c:v>
                </c:pt>
                <c:pt idx="671">
                  <c:v>44952</c:v>
                </c:pt>
                <c:pt idx="672">
                  <c:v>44951</c:v>
                </c:pt>
                <c:pt idx="673">
                  <c:v>44950</c:v>
                </c:pt>
                <c:pt idx="674">
                  <c:v>44949</c:v>
                </c:pt>
                <c:pt idx="675">
                  <c:v>44946</c:v>
                </c:pt>
                <c:pt idx="676">
                  <c:v>44945</c:v>
                </c:pt>
                <c:pt idx="677">
                  <c:v>44944</c:v>
                </c:pt>
                <c:pt idx="678">
                  <c:v>44943</c:v>
                </c:pt>
                <c:pt idx="679">
                  <c:v>44939</c:v>
                </c:pt>
                <c:pt idx="680">
                  <c:v>44938</c:v>
                </c:pt>
                <c:pt idx="681">
                  <c:v>44937</c:v>
                </c:pt>
                <c:pt idx="682">
                  <c:v>44936</c:v>
                </c:pt>
                <c:pt idx="683">
                  <c:v>44935</c:v>
                </c:pt>
                <c:pt idx="684">
                  <c:v>44932</c:v>
                </c:pt>
                <c:pt idx="685">
                  <c:v>44931</c:v>
                </c:pt>
                <c:pt idx="686">
                  <c:v>44930</c:v>
                </c:pt>
                <c:pt idx="687">
                  <c:v>44929</c:v>
                </c:pt>
                <c:pt idx="688">
                  <c:v>44925</c:v>
                </c:pt>
                <c:pt idx="689">
                  <c:v>44924</c:v>
                </c:pt>
                <c:pt idx="690">
                  <c:v>44923</c:v>
                </c:pt>
                <c:pt idx="691">
                  <c:v>44922</c:v>
                </c:pt>
                <c:pt idx="692">
                  <c:v>44918</c:v>
                </c:pt>
                <c:pt idx="693">
                  <c:v>44917</c:v>
                </c:pt>
                <c:pt idx="694">
                  <c:v>44916</c:v>
                </c:pt>
                <c:pt idx="695">
                  <c:v>44915</c:v>
                </c:pt>
                <c:pt idx="696">
                  <c:v>44914</c:v>
                </c:pt>
                <c:pt idx="697">
                  <c:v>44911</c:v>
                </c:pt>
                <c:pt idx="698">
                  <c:v>44910</c:v>
                </c:pt>
                <c:pt idx="699">
                  <c:v>44909</c:v>
                </c:pt>
                <c:pt idx="700">
                  <c:v>44908</c:v>
                </c:pt>
                <c:pt idx="701">
                  <c:v>44907</c:v>
                </c:pt>
                <c:pt idx="702">
                  <c:v>44904</c:v>
                </c:pt>
                <c:pt idx="703">
                  <c:v>44903</c:v>
                </c:pt>
                <c:pt idx="704">
                  <c:v>44902</c:v>
                </c:pt>
                <c:pt idx="705">
                  <c:v>44901</c:v>
                </c:pt>
                <c:pt idx="706">
                  <c:v>44900</c:v>
                </c:pt>
                <c:pt idx="707">
                  <c:v>44897</c:v>
                </c:pt>
                <c:pt idx="708">
                  <c:v>44896</c:v>
                </c:pt>
                <c:pt idx="709">
                  <c:v>44895</c:v>
                </c:pt>
                <c:pt idx="710">
                  <c:v>44894</c:v>
                </c:pt>
                <c:pt idx="711">
                  <c:v>44893</c:v>
                </c:pt>
                <c:pt idx="712">
                  <c:v>44890</c:v>
                </c:pt>
                <c:pt idx="713">
                  <c:v>44888</c:v>
                </c:pt>
                <c:pt idx="714">
                  <c:v>44887</c:v>
                </c:pt>
                <c:pt idx="715">
                  <c:v>44886</c:v>
                </c:pt>
                <c:pt idx="716">
                  <c:v>44883</c:v>
                </c:pt>
                <c:pt idx="717">
                  <c:v>44882</c:v>
                </c:pt>
                <c:pt idx="718">
                  <c:v>44881</c:v>
                </c:pt>
                <c:pt idx="719">
                  <c:v>44880</c:v>
                </c:pt>
                <c:pt idx="720">
                  <c:v>44879</c:v>
                </c:pt>
                <c:pt idx="721">
                  <c:v>44876</c:v>
                </c:pt>
                <c:pt idx="722">
                  <c:v>44875</c:v>
                </c:pt>
                <c:pt idx="723">
                  <c:v>44874</c:v>
                </c:pt>
                <c:pt idx="724">
                  <c:v>44873</c:v>
                </c:pt>
                <c:pt idx="725">
                  <c:v>44872</c:v>
                </c:pt>
                <c:pt idx="726">
                  <c:v>44869</c:v>
                </c:pt>
                <c:pt idx="727">
                  <c:v>44868</c:v>
                </c:pt>
                <c:pt idx="728">
                  <c:v>44867</c:v>
                </c:pt>
                <c:pt idx="729">
                  <c:v>44866</c:v>
                </c:pt>
                <c:pt idx="730">
                  <c:v>44865</c:v>
                </c:pt>
                <c:pt idx="731">
                  <c:v>44862</c:v>
                </c:pt>
                <c:pt idx="732">
                  <c:v>44861</c:v>
                </c:pt>
                <c:pt idx="733">
                  <c:v>44860</c:v>
                </c:pt>
                <c:pt idx="734">
                  <c:v>44859</c:v>
                </c:pt>
                <c:pt idx="735">
                  <c:v>44858</c:v>
                </c:pt>
                <c:pt idx="736">
                  <c:v>44855</c:v>
                </c:pt>
                <c:pt idx="737">
                  <c:v>44854</c:v>
                </c:pt>
                <c:pt idx="738">
                  <c:v>44853</c:v>
                </c:pt>
                <c:pt idx="739">
                  <c:v>44852</c:v>
                </c:pt>
                <c:pt idx="740">
                  <c:v>44851</c:v>
                </c:pt>
                <c:pt idx="741">
                  <c:v>44848</c:v>
                </c:pt>
                <c:pt idx="742">
                  <c:v>44847</c:v>
                </c:pt>
                <c:pt idx="743">
                  <c:v>44846</c:v>
                </c:pt>
                <c:pt idx="744">
                  <c:v>44845</c:v>
                </c:pt>
                <c:pt idx="745">
                  <c:v>44844</c:v>
                </c:pt>
                <c:pt idx="746">
                  <c:v>44841</c:v>
                </c:pt>
                <c:pt idx="747">
                  <c:v>44840</c:v>
                </c:pt>
                <c:pt idx="748">
                  <c:v>44839</c:v>
                </c:pt>
                <c:pt idx="749">
                  <c:v>44838</c:v>
                </c:pt>
                <c:pt idx="750">
                  <c:v>44837</c:v>
                </c:pt>
                <c:pt idx="751">
                  <c:v>44834</c:v>
                </c:pt>
                <c:pt idx="752">
                  <c:v>44833</c:v>
                </c:pt>
                <c:pt idx="753">
                  <c:v>44832</c:v>
                </c:pt>
                <c:pt idx="754">
                  <c:v>44831</c:v>
                </c:pt>
                <c:pt idx="755">
                  <c:v>44830</c:v>
                </c:pt>
                <c:pt idx="756">
                  <c:v>44827</c:v>
                </c:pt>
                <c:pt idx="757">
                  <c:v>44826</c:v>
                </c:pt>
                <c:pt idx="758">
                  <c:v>44825</c:v>
                </c:pt>
                <c:pt idx="759">
                  <c:v>44824</c:v>
                </c:pt>
                <c:pt idx="760">
                  <c:v>44823</c:v>
                </c:pt>
                <c:pt idx="761">
                  <c:v>44820</c:v>
                </c:pt>
                <c:pt idx="762">
                  <c:v>44819</c:v>
                </c:pt>
                <c:pt idx="763">
                  <c:v>44818</c:v>
                </c:pt>
                <c:pt idx="764">
                  <c:v>44817</c:v>
                </c:pt>
                <c:pt idx="765">
                  <c:v>44816</c:v>
                </c:pt>
                <c:pt idx="766">
                  <c:v>44813</c:v>
                </c:pt>
                <c:pt idx="767">
                  <c:v>44812</c:v>
                </c:pt>
                <c:pt idx="768">
                  <c:v>44811</c:v>
                </c:pt>
                <c:pt idx="769">
                  <c:v>44810</c:v>
                </c:pt>
                <c:pt idx="770">
                  <c:v>44806</c:v>
                </c:pt>
                <c:pt idx="771">
                  <c:v>44805</c:v>
                </c:pt>
                <c:pt idx="772">
                  <c:v>44804</c:v>
                </c:pt>
                <c:pt idx="773">
                  <c:v>44803</c:v>
                </c:pt>
                <c:pt idx="774">
                  <c:v>44802</c:v>
                </c:pt>
                <c:pt idx="775">
                  <c:v>44799</c:v>
                </c:pt>
                <c:pt idx="776">
                  <c:v>44798</c:v>
                </c:pt>
                <c:pt idx="777">
                  <c:v>44797</c:v>
                </c:pt>
                <c:pt idx="778">
                  <c:v>44796</c:v>
                </c:pt>
                <c:pt idx="779">
                  <c:v>44795</c:v>
                </c:pt>
                <c:pt idx="780">
                  <c:v>44792</c:v>
                </c:pt>
                <c:pt idx="781">
                  <c:v>44791</c:v>
                </c:pt>
                <c:pt idx="782">
                  <c:v>44790</c:v>
                </c:pt>
                <c:pt idx="783">
                  <c:v>44789</c:v>
                </c:pt>
                <c:pt idx="784">
                  <c:v>44788</c:v>
                </c:pt>
                <c:pt idx="785">
                  <c:v>44785</c:v>
                </c:pt>
                <c:pt idx="786">
                  <c:v>44784</c:v>
                </c:pt>
                <c:pt idx="787">
                  <c:v>44783</c:v>
                </c:pt>
                <c:pt idx="788">
                  <c:v>44782</c:v>
                </c:pt>
                <c:pt idx="789">
                  <c:v>44781</c:v>
                </c:pt>
                <c:pt idx="790">
                  <c:v>44778</c:v>
                </c:pt>
                <c:pt idx="791">
                  <c:v>44777</c:v>
                </c:pt>
                <c:pt idx="792">
                  <c:v>44776</c:v>
                </c:pt>
                <c:pt idx="793">
                  <c:v>44775</c:v>
                </c:pt>
                <c:pt idx="794">
                  <c:v>44774</c:v>
                </c:pt>
                <c:pt idx="795">
                  <c:v>44771</c:v>
                </c:pt>
                <c:pt idx="796">
                  <c:v>44770</c:v>
                </c:pt>
                <c:pt idx="797">
                  <c:v>44769</c:v>
                </c:pt>
                <c:pt idx="798">
                  <c:v>44768</c:v>
                </c:pt>
                <c:pt idx="799">
                  <c:v>44767</c:v>
                </c:pt>
                <c:pt idx="800">
                  <c:v>44764</c:v>
                </c:pt>
                <c:pt idx="801">
                  <c:v>44763</c:v>
                </c:pt>
                <c:pt idx="802">
                  <c:v>44762</c:v>
                </c:pt>
                <c:pt idx="803">
                  <c:v>44761</c:v>
                </c:pt>
                <c:pt idx="804">
                  <c:v>44760</c:v>
                </c:pt>
                <c:pt idx="805">
                  <c:v>44757</c:v>
                </c:pt>
                <c:pt idx="806">
                  <c:v>44756</c:v>
                </c:pt>
                <c:pt idx="807">
                  <c:v>44755</c:v>
                </c:pt>
                <c:pt idx="808">
                  <c:v>44754</c:v>
                </c:pt>
                <c:pt idx="809">
                  <c:v>44753</c:v>
                </c:pt>
                <c:pt idx="810">
                  <c:v>44750</c:v>
                </c:pt>
                <c:pt idx="811">
                  <c:v>44749</c:v>
                </c:pt>
                <c:pt idx="812">
                  <c:v>44748</c:v>
                </c:pt>
                <c:pt idx="813">
                  <c:v>44747</c:v>
                </c:pt>
                <c:pt idx="814">
                  <c:v>44743</c:v>
                </c:pt>
                <c:pt idx="815">
                  <c:v>44742</c:v>
                </c:pt>
                <c:pt idx="816">
                  <c:v>44741</c:v>
                </c:pt>
                <c:pt idx="817">
                  <c:v>44740</c:v>
                </c:pt>
                <c:pt idx="818">
                  <c:v>44739</c:v>
                </c:pt>
                <c:pt idx="819">
                  <c:v>44736</c:v>
                </c:pt>
                <c:pt idx="820">
                  <c:v>44735</c:v>
                </c:pt>
                <c:pt idx="821">
                  <c:v>44734</c:v>
                </c:pt>
                <c:pt idx="822">
                  <c:v>44733</c:v>
                </c:pt>
                <c:pt idx="823">
                  <c:v>44732</c:v>
                </c:pt>
                <c:pt idx="824">
                  <c:v>44729</c:v>
                </c:pt>
                <c:pt idx="825">
                  <c:v>44728</c:v>
                </c:pt>
                <c:pt idx="826">
                  <c:v>44727</c:v>
                </c:pt>
                <c:pt idx="827">
                  <c:v>44726</c:v>
                </c:pt>
                <c:pt idx="828">
                  <c:v>44725</c:v>
                </c:pt>
                <c:pt idx="829">
                  <c:v>44722</c:v>
                </c:pt>
                <c:pt idx="830">
                  <c:v>44721</c:v>
                </c:pt>
                <c:pt idx="831">
                  <c:v>44720</c:v>
                </c:pt>
                <c:pt idx="832">
                  <c:v>44719</c:v>
                </c:pt>
                <c:pt idx="833">
                  <c:v>44718</c:v>
                </c:pt>
                <c:pt idx="834">
                  <c:v>44714</c:v>
                </c:pt>
                <c:pt idx="835">
                  <c:v>44713</c:v>
                </c:pt>
                <c:pt idx="836">
                  <c:v>44712</c:v>
                </c:pt>
                <c:pt idx="837">
                  <c:v>44708</c:v>
                </c:pt>
                <c:pt idx="838">
                  <c:v>44707</c:v>
                </c:pt>
                <c:pt idx="839">
                  <c:v>44706</c:v>
                </c:pt>
                <c:pt idx="840">
                  <c:v>44705</c:v>
                </c:pt>
                <c:pt idx="841">
                  <c:v>44704</c:v>
                </c:pt>
                <c:pt idx="842">
                  <c:v>44701</c:v>
                </c:pt>
                <c:pt idx="843">
                  <c:v>44700</c:v>
                </c:pt>
                <c:pt idx="844">
                  <c:v>44699</c:v>
                </c:pt>
                <c:pt idx="845">
                  <c:v>44698</c:v>
                </c:pt>
                <c:pt idx="846">
                  <c:v>44697</c:v>
                </c:pt>
                <c:pt idx="847">
                  <c:v>44694</c:v>
                </c:pt>
                <c:pt idx="848">
                  <c:v>44693</c:v>
                </c:pt>
                <c:pt idx="849">
                  <c:v>44692</c:v>
                </c:pt>
                <c:pt idx="850">
                  <c:v>44691</c:v>
                </c:pt>
                <c:pt idx="851">
                  <c:v>44690</c:v>
                </c:pt>
                <c:pt idx="852">
                  <c:v>44687</c:v>
                </c:pt>
                <c:pt idx="853">
                  <c:v>44686</c:v>
                </c:pt>
                <c:pt idx="854">
                  <c:v>44685</c:v>
                </c:pt>
                <c:pt idx="855">
                  <c:v>44684</c:v>
                </c:pt>
                <c:pt idx="856">
                  <c:v>44683</c:v>
                </c:pt>
                <c:pt idx="857">
                  <c:v>44680</c:v>
                </c:pt>
                <c:pt idx="858">
                  <c:v>44679</c:v>
                </c:pt>
                <c:pt idx="859">
                  <c:v>44678</c:v>
                </c:pt>
                <c:pt idx="860">
                  <c:v>44677</c:v>
                </c:pt>
                <c:pt idx="861">
                  <c:v>44676</c:v>
                </c:pt>
                <c:pt idx="862">
                  <c:v>44673</c:v>
                </c:pt>
                <c:pt idx="863">
                  <c:v>44672</c:v>
                </c:pt>
                <c:pt idx="864">
                  <c:v>44671</c:v>
                </c:pt>
                <c:pt idx="865">
                  <c:v>44670</c:v>
                </c:pt>
                <c:pt idx="866">
                  <c:v>44669</c:v>
                </c:pt>
                <c:pt idx="867">
                  <c:v>44665</c:v>
                </c:pt>
                <c:pt idx="868">
                  <c:v>44664</c:v>
                </c:pt>
                <c:pt idx="869">
                  <c:v>44663</c:v>
                </c:pt>
                <c:pt idx="870">
                  <c:v>44662</c:v>
                </c:pt>
                <c:pt idx="871">
                  <c:v>44659</c:v>
                </c:pt>
                <c:pt idx="872">
                  <c:v>44658</c:v>
                </c:pt>
                <c:pt idx="873">
                  <c:v>44657</c:v>
                </c:pt>
                <c:pt idx="874">
                  <c:v>44656</c:v>
                </c:pt>
                <c:pt idx="875">
                  <c:v>44655</c:v>
                </c:pt>
                <c:pt idx="876">
                  <c:v>44652</c:v>
                </c:pt>
                <c:pt idx="877">
                  <c:v>44651</c:v>
                </c:pt>
                <c:pt idx="878">
                  <c:v>44650</c:v>
                </c:pt>
                <c:pt idx="879">
                  <c:v>44649</c:v>
                </c:pt>
                <c:pt idx="880">
                  <c:v>44648</c:v>
                </c:pt>
                <c:pt idx="881">
                  <c:v>44645</c:v>
                </c:pt>
                <c:pt idx="882">
                  <c:v>44644</c:v>
                </c:pt>
                <c:pt idx="883">
                  <c:v>44643</c:v>
                </c:pt>
                <c:pt idx="884">
                  <c:v>44642</c:v>
                </c:pt>
                <c:pt idx="885">
                  <c:v>44641</c:v>
                </c:pt>
                <c:pt idx="886">
                  <c:v>44638</c:v>
                </c:pt>
                <c:pt idx="887">
                  <c:v>44637</c:v>
                </c:pt>
                <c:pt idx="888">
                  <c:v>44636</c:v>
                </c:pt>
                <c:pt idx="889">
                  <c:v>44635</c:v>
                </c:pt>
                <c:pt idx="890">
                  <c:v>44634</c:v>
                </c:pt>
                <c:pt idx="891">
                  <c:v>44631</c:v>
                </c:pt>
                <c:pt idx="892">
                  <c:v>44630</c:v>
                </c:pt>
                <c:pt idx="893">
                  <c:v>44629</c:v>
                </c:pt>
                <c:pt idx="894">
                  <c:v>44628</c:v>
                </c:pt>
                <c:pt idx="895">
                  <c:v>44627</c:v>
                </c:pt>
                <c:pt idx="896">
                  <c:v>44624</c:v>
                </c:pt>
                <c:pt idx="897">
                  <c:v>44623</c:v>
                </c:pt>
                <c:pt idx="898">
                  <c:v>44622</c:v>
                </c:pt>
                <c:pt idx="899">
                  <c:v>44621</c:v>
                </c:pt>
                <c:pt idx="900">
                  <c:v>44620</c:v>
                </c:pt>
                <c:pt idx="901">
                  <c:v>44617</c:v>
                </c:pt>
                <c:pt idx="902">
                  <c:v>44616</c:v>
                </c:pt>
                <c:pt idx="903">
                  <c:v>44615</c:v>
                </c:pt>
                <c:pt idx="904">
                  <c:v>44614</c:v>
                </c:pt>
                <c:pt idx="905">
                  <c:v>44610</c:v>
                </c:pt>
                <c:pt idx="906">
                  <c:v>44609</c:v>
                </c:pt>
                <c:pt idx="907">
                  <c:v>44608</c:v>
                </c:pt>
                <c:pt idx="908">
                  <c:v>44607</c:v>
                </c:pt>
                <c:pt idx="909">
                  <c:v>44606</c:v>
                </c:pt>
                <c:pt idx="910">
                  <c:v>44603</c:v>
                </c:pt>
                <c:pt idx="911">
                  <c:v>44602</c:v>
                </c:pt>
                <c:pt idx="912">
                  <c:v>44601</c:v>
                </c:pt>
                <c:pt idx="913">
                  <c:v>44600</c:v>
                </c:pt>
                <c:pt idx="914">
                  <c:v>44599</c:v>
                </c:pt>
                <c:pt idx="915">
                  <c:v>44596</c:v>
                </c:pt>
                <c:pt idx="916">
                  <c:v>44595</c:v>
                </c:pt>
                <c:pt idx="917">
                  <c:v>44594</c:v>
                </c:pt>
                <c:pt idx="918">
                  <c:v>44593</c:v>
                </c:pt>
                <c:pt idx="919">
                  <c:v>44592</c:v>
                </c:pt>
                <c:pt idx="920">
                  <c:v>44589</c:v>
                </c:pt>
                <c:pt idx="921">
                  <c:v>44588</c:v>
                </c:pt>
                <c:pt idx="922">
                  <c:v>44587</c:v>
                </c:pt>
                <c:pt idx="923">
                  <c:v>44586</c:v>
                </c:pt>
                <c:pt idx="924">
                  <c:v>44585</c:v>
                </c:pt>
                <c:pt idx="925">
                  <c:v>44582</c:v>
                </c:pt>
                <c:pt idx="926">
                  <c:v>44581</c:v>
                </c:pt>
                <c:pt idx="927">
                  <c:v>44580</c:v>
                </c:pt>
                <c:pt idx="928">
                  <c:v>44579</c:v>
                </c:pt>
                <c:pt idx="929">
                  <c:v>44575</c:v>
                </c:pt>
                <c:pt idx="930">
                  <c:v>44574</c:v>
                </c:pt>
                <c:pt idx="931">
                  <c:v>44573</c:v>
                </c:pt>
                <c:pt idx="932">
                  <c:v>44572</c:v>
                </c:pt>
                <c:pt idx="933">
                  <c:v>44571</c:v>
                </c:pt>
                <c:pt idx="934">
                  <c:v>44568</c:v>
                </c:pt>
                <c:pt idx="935">
                  <c:v>44567</c:v>
                </c:pt>
                <c:pt idx="936">
                  <c:v>44566</c:v>
                </c:pt>
                <c:pt idx="937">
                  <c:v>44565</c:v>
                </c:pt>
                <c:pt idx="938">
                  <c:v>44564</c:v>
                </c:pt>
                <c:pt idx="939">
                  <c:v>44561</c:v>
                </c:pt>
                <c:pt idx="940">
                  <c:v>44560</c:v>
                </c:pt>
                <c:pt idx="941">
                  <c:v>44559</c:v>
                </c:pt>
                <c:pt idx="942">
                  <c:v>44558</c:v>
                </c:pt>
                <c:pt idx="943">
                  <c:v>44557</c:v>
                </c:pt>
                <c:pt idx="944">
                  <c:v>44553</c:v>
                </c:pt>
                <c:pt idx="945">
                  <c:v>44552</c:v>
                </c:pt>
                <c:pt idx="946">
                  <c:v>44551</c:v>
                </c:pt>
                <c:pt idx="947">
                  <c:v>44550</c:v>
                </c:pt>
                <c:pt idx="948">
                  <c:v>44547</c:v>
                </c:pt>
                <c:pt idx="949">
                  <c:v>44546</c:v>
                </c:pt>
                <c:pt idx="950">
                  <c:v>44545</c:v>
                </c:pt>
                <c:pt idx="951">
                  <c:v>44544</c:v>
                </c:pt>
                <c:pt idx="952">
                  <c:v>44543</c:v>
                </c:pt>
                <c:pt idx="953">
                  <c:v>44540</c:v>
                </c:pt>
                <c:pt idx="954">
                  <c:v>44539</c:v>
                </c:pt>
                <c:pt idx="955">
                  <c:v>44538</c:v>
                </c:pt>
                <c:pt idx="956">
                  <c:v>44537</c:v>
                </c:pt>
                <c:pt idx="957">
                  <c:v>44536</c:v>
                </c:pt>
                <c:pt idx="958">
                  <c:v>44533</c:v>
                </c:pt>
                <c:pt idx="959">
                  <c:v>44532</c:v>
                </c:pt>
                <c:pt idx="960">
                  <c:v>44531</c:v>
                </c:pt>
                <c:pt idx="961">
                  <c:v>44530</c:v>
                </c:pt>
                <c:pt idx="962">
                  <c:v>44529</c:v>
                </c:pt>
                <c:pt idx="963">
                  <c:v>44526</c:v>
                </c:pt>
                <c:pt idx="964">
                  <c:v>44524</c:v>
                </c:pt>
                <c:pt idx="965">
                  <c:v>44523</c:v>
                </c:pt>
                <c:pt idx="966">
                  <c:v>44522</c:v>
                </c:pt>
                <c:pt idx="967">
                  <c:v>44519</c:v>
                </c:pt>
                <c:pt idx="968">
                  <c:v>44518</c:v>
                </c:pt>
                <c:pt idx="969">
                  <c:v>44517</c:v>
                </c:pt>
                <c:pt idx="970">
                  <c:v>44516</c:v>
                </c:pt>
                <c:pt idx="971">
                  <c:v>44515</c:v>
                </c:pt>
                <c:pt idx="972">
                  <c:v>44512</c:v>
                </c:pt>
                <c:pt idx="973">
                  <c:v>44511</c:v>
                </c:pt>
                <c:pt idx="974">
                  <c:v>44510</c:v>
                </c:pt>
                <c:pt idx="975">
                  <c:v>44509</c:v>
                </c:pt>
                <c:pt idx="976">
                  <c:v>44508</c:v>
                </c:pt>
                <c:pt idx="977">
                  <c:v>44505</c:v>
                </c:pt>
                <c:pt idx="978">
                  <c:v>44504</c:v>
                </c:pt>
                <c:pt idx="979">
                  <c:v>44503</c:v>
                </c:pt>
                <c:pt idx="980">
                  <c:v>44502</c:v>
                </c:pt>
                <c:pt idx="981">
                  <c:v>44501</c:v>
                </c:pt>
                <c:pt idx="982">
                  <c:v>44498</c:v>
                </c:pt>
                <c:pt idx="983">
                  <c:v>44497</c:v>
                </c:pt>
                <c:pt idx="984">
                  <c:v>44496</c:v>
                </c:pt>
                <c:pt idx="985">
                  <c:v>44495</c:v>
                </c:pt>
                <c:pt idx="986">
                  <c:v>44494</c:v>
                </c:pt>
                <c:pt idx="987">
                  <c:v>44491</c:v>
                </c:pt>
                <c:pt idx="988">
                  <c:v>44490</c:v>
                </c:pt>
                <c:pt idx="989">
                  <c:v>44489</c:v>
                </c:pt>
                <c:pt idx="990">
                  <c:v>44488</c:v>
                </c:pt>
                <c:pt idx="991">
                  <c:v>44487</c:v>
                </c:pt>
                <c:pt idx="992">
                  <c:v>44484</c:v>
                </c:pt>
                <c:pt idx="993">
                  <c:v>44483</c:v>
                </c:pt>
                <c:pt idx="994">
                  <c:v>44482</c:v>
                </c:pt>
                <c:pt idx="995">
                  <c:v>44481</c:v>
                </c:pt>
                <c:pt idx="996">
                  <c:v>44480</c:v>
                </c:pt>
                <c:pt idx="997">
                  <c:v>44477</c:v>
                </c:pt>
                <c:pt idx="998">
                  <c:v>44476</c:v>
                </c:pt>
                <c:pt idx="999">
                  <c:v>44475</c:v>
                </c:pt>
                <c:pt idx="1000">
                  <c:v>44474</c:v>
                </c:pt>
                <c:pt idx="1001">
                  <c:v>44473</c:v>
                </c:pt>
                <c:pt idx="1002">
                  <c:v>44470</c:v>
                </c:pt>
                <c:pt idx="1003">
                  <c:v>44469</c:v>
                </c:pt>
                <c:pt idx="1004">
                  <c:v>44468</c:v>
                </c:pt>
                <c:pt idx="1005">
                  <c:v>44467</c:v>
                </c:pt>
                <c:pt idx="1006">
                  <c:v>44466</c:v>
                </c:pt>
                <c:pt idx="1007">
                  <c:v>44463</c:v>
                </c:pt>
                <c:pt idx="1008">
                  <c:v>44462</c:v>
                </c:pt>
                <c:pt idx="1009">
                  <c:v>44461</c:v>
                </c:pt>
                <c:pt idx="1010">
                  <c:v>44460</c:v>
                </c:pt>
                <c:pt idx="1011">
                  <c:v>44459</c:v>
                </c:pt>
                <c:pt idx="1012">
                  <c:v>44456</c:v>
                </c:pt>
                <c:pt idx="1013">
                  <c:v>44455</c:v>
                </c:pt>
                <c:pt idx="1014">
                  <c:v>44454</c:v>
                </c:pt>
                <c:pt idx="1015">
                  <c:v>44453</c:v>
                </c:pt>
                <c:pt idx="1016">
                  <c:v>44452</c:v>
                </c:pt>
                <c:pt idx="1017">
                  <c:v>44449</c:v>
                </c:pt>
                <c:pt idx="1018">
                  <c:v>44448</c:v>
                </c:pt>
                <c:pt idx="1019">
                  <c:v>44447</c:v>
                </c:pt>
                <c:pt idx="1020">
                  <c:v>44446</c:v>
                </c:pt>
              </c:numCache>
            </c:numRef>
          </c:cat>
          <c:val>
            <c:numRef>
              <c:f>'Graph '!$S$2:$S$1022</c:f>
              <c:numCache>
                <c:formatCode>0%</c:formatCode>
                <c:ptCount val="1021"/>
                <c:pt idx="0">
                  <c:v>1.5444037062289357</c:v>
                </c:pt>
                <c:pt idx="1">
                  <c:v>1.5314470883565989</c:v>
                </c:pt>
                <c:pt idx="2">
                  <c:v>1.5055164242089489</c:v>
                </c:pt>
                <c:pt idx="3">
                  <c:v>1.5043002143711885</c:v>
                </c:pt>
                <c:pt idx="4">
                  <c:v>1.5073470948437704</c:v>
                </c:pt>
                <c:pt idx="5">
                  <c:v>1.4994011945231556</c:v>
                </c:pt>
                <c:pt idx="6">
                  <c:v>1.5297493895509438</c:v>
                </c:pt>
                <c:pt idx="7">
                  <c:v>1.4979079167288991</c:v>
                </c:pt>
                <c:pt idx="8">
                  <c:v>1.487991679524109</c:v>
                </c:pt>
                <c:pt idx="9">
                  <c:v>1.4893693343720065</c:v>
                </c:pt>
                <c:pt idx="10">
                  <c:v>1.4519839516517394</c:v>
                </c:pt>
                <c:pt idx="11">
                  <c:v>1.5125145401389704</c:v>
                </c:pt>
                <c:pt idx="12">
                  <c:v>1.4723215528258478</c:v>
                </c:pt>
                <c:pt idx="13">
                  <c:v>1.4851774585586397</c:v>
                </c:pt>
                <c:pt idx="14">
                  <c:v>1.4862761099942232</c:v>
                </c:pt>
                <c:pt idx="15">
                  <c:v>1.4958923889044744</c:v>
                </c:pt>
                <c:pt idx="16">
                  <c:v>1.4972067088051255</c:v>
                </c:pt>
                <c:pt idx="17">
                  <c:v>1.4666323347765053</c:v>
                </c:pt>
                <c:pt idx="18">
                  <c:v>1.4540684673308926</c:v>
                </c:pt>
                <c:pt idx="19">
                  <c:v>1.4529340456924777</c:v>
                </c:pt>
                <c:pt idx="20">
                  <c:v>1.4073733974961402</c:v>
                </c:pt>
                <c:pt idx="21">
                  <c:v>1.4269899755758391</c:v>
                </c:pt>
                <c:pt idx="22">
                  <c:v>1.400424816431256</c:v>
                </c:pt>
                <c:pt idx="23">
                  <c:v>1.4110788651743302</c:v>
                </c:pt>
                <c:pt idx="24">
                  <c:v>1.3977540951143408</c:v>
                </c:pt>
                <c:pt idx="25">
                  <c:v>1.358005162533106</c:v>
                </c:pt>
                <c:pt idx="26">
                  <c:v>1.4093258080849718</c:v>
                </c:pt>
                <c:pt idx="27">
                  <c:v>1.3597835918268482</c:v>
                </c:pt>
                <c:pt idx="28">
                  <c:v>1.3617126599907468</c:v>
                </c:pt>
                <c:pt idx="29">
                  <c:v>1.3695000925022653</c:v>
                </c:pt>
                <c:pt idx="30">
                  <c:v>1.3759451242626679</c:v>
                </c:pt>
                <c:pt idx="31">
                  <c:v>1.3991979895658093</c:v>
                </c:pt>
                <c:pt idx="32">
                  <c:v>1.3759477707497099</c:v>
                </c:pt>
                <c:pt idx="33">
                  <c:v>1.3676217834730915</c:v>
                </c:pt>
                <c:pt idx="34">
                  <c:v>1.4057896040476874</c:v>
                </c:pt>
                <c:pt idx="35">
                  <c:v>1.3789861190801385</c:v>
                </c:pt>
                <c:pt idx="36">
                  <c:v>1.3574078722022547</c:v>
                </c:pt>
                <c:pt idx="37">
                  <c:v>1.3315331304199782</c:v>
                </c:pt>
                <c:pt idx="38">
                  <c:v>1.3057959316365282</c:v>
                </c:pt>
                <c:pt idx="39">
                  <c:v>1.2911160556569907</c:v>
                </c:pt>
                <c:pt idx="40">
                  <c:v>1.2965419391001087</c:v>
                </c:pt>
                <c:pt idx="41">
                  <c:v>1.2757731895656237</c:v>
                </c:pt>
                <c:pt idx="42">
                  <c:v>1.3074775527970162</c:v>
                </c:pt>
                <c:pt idx="43">
                  <c:v>1.3191107946149838</c:v>
                </c:pt>
                <c:pt idx="44">
                  <c:v>1.3460688844630093</c:v>
                </c:pt>
                <c:pt idx="45">
                  <c:v>1.3851224606733648</c:v>
                </c:pt>
                <c:pt idx="46">
                  <c:v>1.3949162356546925</c:v>
                </c:pt>
                <c:pt idx="47">
                  <c:v>1.3843897870990882</c:v>
                </c:pt>
                <c:pt idx="48">
                  <c:v>1.3710795499313453</c:v>
                </c:pt>
                <c:pt idx="49">
                  <c:v>1.3292226004382011</c:v>
                </c:pt>
                <c:pt idx="50">
                  <c:v>1.3347179463769026</c:v>
                </c:pt>
                <c:pt idx="51">
                  <c:v>1.3032084711146896</c:v>
                </c:pt>
                <c:pt idx="52">
                  <c:v>1.3170316859198263</c:v>
                </c:pt>
                <c:pt idx="53">
                  <c:v>1.2714765218249959</c:v>
                </c:pt>
                <c:pt idx="54">
                  <c:v>1.3292614178291231</c:v>
                </c:pt>
                <c:pt idx="55">
                  <c:v>1.3307730427710811</c:v>
                </c:pt>
                <c:pt idx="56">
                  <c:v>1.3258097905449624</c:v>
                </c:pt>
                <c:pt idx="57">
                  <c:v>1.442854690531298</c:v>
                </c:pt>
                <c:pt idx="58">
                  <c:v>1.4620732779911227</c:v>
                </c:pt>
                <c:pt idx="59">
                  <c:v>1.4240020725622355</c:v>
                </c:pt>
                <c:pt idx="60">
                  <c:v>1.4305052155078006</c:v>
                </c:pt>
                <c:pt idx="61">
                  <c:v>1.4325334887257717</c:v>
                </c:pt>
                <c:pt idx="62">
                  <c:v>1.4222227902480404</c:v>
                </c:pt>
                <c:pt idx="63">
                  <c:v>1.3632395633459171</c:v>
                </c:pt>
                <c:pt idx="64">
                  <c:v>1.3731557672235408</c:v>
                </c:pt>
                <c:pt idx="65">
                  <c:v>1.3263290577162219</c:v>
                </c:pt>
                <c:pt idx="66">
                  <c:v>1.3036412862984217</c:v>
                </c:pt>
                <c:pt idx="67">
                  <c:v>1.2663367347452863</c:v>
                </c:pt>
                <c:pt idx="68">
                  <c:v>1.2534430317428886</c:v>
                </c:pt>
                <c:pt idx="69">
                  <c:v>1.3011599338944055</c:v>
                </c:pt>
                <c:pt idx="70">
                  <c:v>1.3492677105406958</c:v>
                </c:pt>
                <c:pt idx="71">
                  <c:v>1.3207548821005015</c:v>
                </c:pt>
                <c:pt idx="72">
                  <c:v>1.3757876988188342</c:v>
                </c:pt>
                <c:pt idx="73">
                  <c:v>1.4042050512823749</c:v>
                </c:pt>
                <c:pt idx="74">
                  <c:v>1.4381861026955747</c:v>
                </c:pt>
                <c:pt idx="75">
                  <c:v>1.4541346097431465</c:v>
                </c:pt>
                <c:pt idx="76">
                  <c:v>1.4576078134999397</c:v>
                </c:pt>
                <c:pt idx="77">
                  <c:v>1.573891149443901</c:v>
                </c:pt>
                <c:pt idx="78">
                  <c:v>1.5137284479220825</c:v>
                </c:pt>
                <c:pt idx="79">
                  <c:v>1.6034542507522103</c:v>
                </c:pt>
                <c:pt idx="80">
                  <c:v>1.5761849998763835</c:v>
                </c:pt>
                <c:pt idx="81">
                  <c:v>1.5727374926825597</c:v>
                </c:pt>
                <c:pt idx="82">
                  <c:v>1.5483371281608629</c:v>
                </c:pt>
                <c:pt idx="83">
                  <c:v>1.551078259937487</c:v>
                </c:pt>
                <c:pt idx="84">
                  <c:v>1.5935624490259093</c:v>
                </c:pt>
                <c:pt idx="85">
                  <c:v>1.6391088151363045</c:v>
                </c:pt>
                <c:pt idx="86">
                  <c:v>1.5869018047590777</c:v>
                </c:pt>
                <c:pt idx="87">
                  <c:v>1.608620811017377</c:v>
                </c:pt>
                <c:pt idx="88">
                  <c:v>1.5510688206763645</c:v>
                </c:pt>
                <c:pt idx="89">
                  <c:v>1.543630479538403</c:v>
                </c:pt>
                <c:pt idx="90">
                  <c:v>1.5241161743947118</c:v>
                </c:pt>
                <c:pt idx="91">
                  <c:v>1.5435446477461929</c:v>
                </c:pt>
                <c:pt idx="92">
                  <c:v>1.5297804617858741</c:v>
                </c:pt>
                <c:pt idx="93">
                  <c:v>1.5143337151489926</c:v>
                </c:pt>
                <c:pt idx="94">
                  <c:v>1.4989990673818778</c:v>
                </c:pt>
                <c:pt idx="95">
                  <c:v>1.5110874687761311</c:v>
                </c:pt>
                <c:pt idx="96">
                  <c:v>1.5064575379734046</c:v>
                </c:pt>
                <c:pt idx="97">
                  <c:v>1.513260484280937</c:v>
                </c:pt>
                <c:pt idx="98">
                  <c:v>1.509225588489949</c:v>
                </c:pt>
                <c:pt idx="99">
                  <c:v>1.5136339249473814</c:v>
                </c:pt>
                <c:pt idx="100">
                  <c:v>1.5447488933636904</c:v>
                </c:pt>
                <c:pt idx="101">
                  <c:v>1.5388256929512396</c:v>
                </c:pt>
                <c:pt idx="102">
                  <c:v>1.5325050453067384</c:v>
                </c:pt>
                <c:pt idx="103">
                  <c:v>1.5610080871082284</c:v>
                </c:pt>
                <c:pt idx="104">
                  <c:v>1.501267862450574</c:v>
                </c:pt>
                <c:pt idx="105">
                  <c:v>1.4970663540785183</c:v>
                </c:pt>
                <c:pt idx="106">
                  <c:v>1.5068194805348867</c:v>
                </c:pt>
                <c:pt idx="107">
                  <c:v>1.5131449658888756</c:v>
                </c:pt>
                <c:pt idx="108">
                  <c:v>1.5072118174722302</c:v>
                </c:pt>
                <c:pt idx="109">
                  <c:v>1.4988049200508464</c:v>
                </c:pt>
                <c:pt idx="110">
                  <c:v>1.4573017434680948</c:v>
                </c:pt>
                <c:pt idx="111">
                  <c:v>1.4056292321723167</c:v>
                </c:pt>
                <c:pt idx="112">
                  <c:v>1.3745942675568545</c:v>
                </c:pt>
                <c:pt idx="113">
                  <c:v>1.3957337952271995</c:v>
                </c:pt>
                <c:pt idx="114">
                  <c:v>1.3837537317707245</c:v>
                </c:pt>
                <c:pt idx="115">
                  <c:v>1.4132779116763494</c:v>
                </c:pt>
                <c:pt idx="116">
                  <c:v>1.4030087734928496</c:v>
                </c:pt>
                <c:pt idx="117">
                  <c:v>1.362841860192233</c:v>
                </c:pt>
                <c:pt idx="118">
                  <c:v>1.3046178856672093</c:v>
                </c:pt>
                <c:pt idx="119">
                  <c:v>1.3426095250437062</c:v>
                </c:pt>
                <c:pt idx="120">
                  <c:v>1.2189581005437278</c:v>
                </c:pt>
                <c:pt idx="121">
                  <c:v>1.2347326901603624</c:v>
                </c:pt>
                <c:pt idx="122">
                  <c:v>1.3040439625629032</c:v>
                </c:pt>
                <c:pt idx="123">
                  <c:v>1.4606428818171469</c:v>
                </c:pt>
                <c:pt idx="124">
                  <c:v>1.5552446128766788</c:v>
                </c:pt>
                <c:pt idx="125">
                  <c:v>1.5666917695152138</c:v>
                </c:pt>
                <c:pt idx="126">
                  <c:v>1.5452297749246009</c:v>
                </c:pt>
                <c:pt idx="127">
                  <c:v>1.5467345709751297</c:v>
                </c:pt>
                <c:pt idx="128">
                  <c:v>1.5794398922463024</c:v>
                </c:pt>
                <c:pt idx="129">
                  <c:v>1.5850443419500668</c:v>
                </c:pt>
                <c:pt idx="130">
                  <c:v>1.6061654408599044</c:v>
                </c:pt>
                <c:pt idx="131">
                  <c:v>1.5976756939626826</c:v>
                </c:pt>
                <c:pt idx="132">
                  <c:v>1.5663438664489058</c:v>
                </c:pt>
                <c:pt idx="133">
                  <c:v>1.5707906907458362</c:v>
                </c:pt>
                <c:pt idx="134">
                  <c:v>1.5773565470482405</c:v>
                </c:pt>
                <c:pt idx="135">
                  <c:v>1.5530010781725974</c:v>
                </c:pt>
                <c:pt idx="136">
                  <c:v>1.5688757613610642</c:v>
                </c:pt>
                <c:pt idx="137">
                  <c:v>1.5465748895921427</c:v>
                </c:pt>
                <c:pt idx="138">
                  <c:v>1.5272233950198593</c:v>
                </c:pt>
                <c:pt idx="139">
                  <c:v>1.544534836693404</c:v>
                </c:pt>
                <c:pt idx="140">
                  <c:v>1.5397488536036081</c:v>
                </c:pt>
                <c:pt idx="141">
                  <c:v>1.5520068340842745</c:v>
                </c:pt>
                <c:pt idx="142">
                  <c:v>1.6125243840539043</c:v>
                </c:pt>
                <c:pt idx="143">
                  <c:v>1.5954340394533273</c:v>
                </c:pt>
                <c:pt idx="144">
                  <c:v>1.6102040659608252</c:v>
                </c:pt>
                <c:pt idx="145">
                  <c:v>1.5675058942194262</c:v>
                </c:pt>
                <c:pt idx="146">
                  <c:v>1.5862667635066363</c:v>
                </c:pt>
                <c:pt idx="147">
                  <c:v>1.604288668445621</c:v>
                </c:pt>
                <c:pt idx="148">
                  <c:v>1.6006196477442582</c:v>
                </c:pt>
                <c:pt idx="149">
                  <c:v>1.6477967163750473</c:v>
                </c:pt>
                <c:pt idx="150">
                  <c:v>1.6247769349966092</c:v>
                </c:pt>
                <c:pt idx="151">
                  <c:v>1.6527317464590152</c:v>
                </c:pt>
                <c:pt idx="152">
                  <c:v>1.6647563741500004</c:v>
                </c:pt>
                <c:pt idx="153">
                  <c:v>1.6729681524821802</c:v>
                </c:pt>
                <c:pt idx="154">
                  <c:v>1.680426241128878</c:v>
                </c:pt>
                <c:pt idx="155">
                  <c:v>1.7137681182559557</c:v>
                </c:pt>
                <c:pt idx="156">
                  <c:v>1.7016475430476627</c:v>
                </c:pt>
                <c:pt idx="157">
                  <c:v>1.6846244497239233</c:v>
                </c:pt>
                <c:pt idx="158">
                  <c:v>1.6612505112426175</c:v>
                </c:pt>
                <c:pt idx="159">
                  <c:v>1.6649678238608172</c:v>
                </c:pt>
                <c:pt idx="160">
                  <c:v>1.6724637467470247</c:v>
                </c:pt>
                <c:pt idx="161">
                  <c:v>1.654378370451925</c:v>
                </c:pt>
                <c:pt idx="162">
                  <c:v>1.6483080160283596</c:v>
                </c:pt>
                <c:pt idx="163">
                  <c:v>1.621826171002319</c:v>
                </c:pt>
                <c:pt idx="164">
                  <c:v>1.6026971923877413</c:v>
                </c:pt>
                <c:pt idx="165">
                  <c:v>1.5672859676275479</c:v>
                </c:pt>
                <c:pt idx="166">
                  <c:v>1.5942226240772421</c:v>
                </c:pt>
                <c:pt idx="167">
                  <c:v>1.6236273605806502</c:v>
                </c:pt>
                <c:pt idx="168">
                  <c:v>1.5908516140463074</c:v>
                </c:pt>
                <c:pt idx="169">
                  <c:v>1.5918576911388644</c:v>
                </c:pt>
                <c:pt idx="170">
                  <c:v>1.5512000163225688</c:v>
                </c:pt>
                <c:pt idx="171">
                  <c:v>1.6178299034124533</c:v>
                </c:pt>
                <c:pt idx="172">
                  <c:v>1.6017465034958329</c:v>
                </c:pt>
                <c:pt idx="173">
                  <c:v>1.5800900624047385</c:v>
                </c:pt>
                <c:pt idx="174">
                  <c:v>1.5612667082455429</c:v>
                </c:pt>
                <c:pt idx="175">
                  <c:v>1.5752433259055154</c:v>
                </c:pt>
                <c:pt idx="176">
                  <c:v>1.550394402834149</c:v>
                </c:pt>
                <c:pt idx="177">
                  <c:v>1.5498877042674417</c:v>
                </c:pt>
                <c:pt idx="178">
                  <c:v>1.4950284932547819</c:v>
                </c:pt>
                <c:pt idx="179">
                  <c:v>1.4901471066555421</c:v>
                </c:pt>
                <c:pt idx="180">
                  <c:v>1.5080728579913218</c:v>
                </c:pt>
                <c:pt idx="181">
                  <c:v>1.5337632901570912</c:v>
                </c:pt>
                <c:pt idx="182">
                  <c:v>1.5450478048751815</c:v>
                </c:pt>
                <c:pt idx="183">
                  <c:v>1.5968205339833696</c:v>
                </c:pt>
                <c:pt idx="184">
                  <c:v>1.5640559688684026</c:v>
                </c:pt>
                <c:pt idx="185">
                  <c:v>1.5342586383434389</c:v>
                </c:pt>
                <c:pt idx="186">
                  <c:v>1.518908451591173</c:v>
                </c:pt>
                <c:pt idx="187">
                  <c:v>1.5748471658771428</c:v>
                </c:pt>
                <c:pt idx="188">
                  <c:v>1.5668051333447126</c:v>
                </c:pt>
                <c:pt idx="189">
                  <c:v>1.5762825049349458</c:v>
                </c:pt>
                <c:pt idx="190">
                  <c:v>1.5729115395469142</c:v>
                </c:pt>
                <c:pt idx="191">
                  <c:v>1.5500259913146373</c:v>
                </c:pt>
                <c:pt idx="192">
                  <c:v>1.5151000613297438</c:v>
                </c:pt>
                <c:pt idx="193">
                  <c:v>1.5029588672235681</c:v>
                </c:pt>
                <c:pt idx="194">
                  <c:v>1.494074186272671</c:v>
                </c:pt>
                <c:pt idx="195">
                  <c:v>1.5423981484976457</c:v>
                </c:pt>
                <c:pt idx="196">
                  <c:v>1.5538576233994603</c:v>
                </c:pt>
                <c:pt idx="197">
                  <c:v>1.5388601845534549</c:v>
                </c:pt>
                <c:pt idx="198">
                  <c:v>1.5509248776989946</c:v>
                </c:pt>
                <c:pt idx="199">
                  <c:v>1.625093038210689</c:v>
                </c:pt>
                <c:pt idx="200">
                  <c:v>1.6043748994662845</c:v>
                </c:pt>
                <c:pt idx="201">
                  <c:v>1.6316890561413246</c:v>
                </c:pt>
                <c:pt idx="202">
                  <c:v>1.6457516222385902</c:v>
                </c:pt>
                <c:pt idx="203">
                  <c:v>1.6300674611604884</c:v>
                </c:pt>
                <c:pt idx="204">
                  <c:v>1.6440805798182998</c:v>
                </c:pt>
                <c:pt idx="205">
                  <c:v>1.6187231316964912</c:v>
                </c:pt>
                <c:pt idx="206">
                  <c:v>1.5995239353772361</c:v>
                </c:pt>
                <c:pt idx="207">
                  <c:v>1.5559631858818133</c:v>
                </c:pt>
                <c:pt idx="208">
                  <c:v>1.5167505759205708</c:v>
                </c:pt>
                <c:pt idx="209">
                  <c:v>1.5149189525938174</c:v>
                </c:pt>
                <c:pt idx="210">
                  <c:v>1.5132865166732392</c:v>
                </c:pt>
                <c:pt idx="211">
                  <c:v>1.5176133625506725</c:v>
                </c:pt>
                <c:pt idx="212">
                  <c:v>1.5089546833465834</c:v>
                </c:pt>
                <c:pt idx="213">
                  <c:v>1.5000848292645448</c:v>
                </c:pt>
                <c:pt idx="214">
                  <c:v>1.488034219559534</c:v>
                </c:pt>
                <c:pt idx="215">
                  <c:v>1.4592965100178814</c:v>
                </c:pt>
                <c:pt idx="216">
                  <c:v>1.4418165878918434</c:v>
                </c:pt>
                <c:pt idx="217">
                  <c:v>1.4676555810951943</c:v>
                </c:pt>
                <c:pt idx="218">
                  <c:v>1.464082712756956</c:v>
                </c:pt>
                <c:pt idx="219">
                  <c:v>1.4791824818151929</c:v>
                </c:pt>
                <c:pt idx="220">
                  <c:v>1.4910548795350875</c:v>
                </c:pt>
                <c:pt idx="221">
                  <c:v>1.4827246260711351</c:v>
                </c:pt>
                <c:pt idx="222">
                  <c:v>1.4848748734633426</c:v>
                </c:pt>
                <c:pt idx="223">
                  <c:v>1.4529701477718873</c:v>
                </c:pt>
                <c:pt idx="224">
                  <c:v>1.4126047079505577</c:v>
                </c:pt>
                <c:pt idx="225">
                  <c:v>1.4081929571636684</c:v>
                </c:pt>
                <c:pt idx="226">
                  <c:v>1.4073736720964947</c:v>
                </c:pt>
                <c:pt idx="227">
                  <c:v>1.3591782454672976</c:v>
                </c:pt>
                <c:pt idx="228">
                  <c:v>1.4602149823129689</c:v>
                </c:pt>
                <c:pt idx="229">
                  <c:v>1.4462097763770436</c:v>
                </c:pt>
                <c:pt idx="230">
                  <c:v>1.4143648447376505</c:v>
                </c:pt>
                <c:pt idx="231">
                  <c:v>1.4106209067361006</c:v>
                </c:pt>
                <c:pt idx="232">
                  <c:v>1.4025655959629857</c:v>
                </c:pt>
                <c:pt idx="233">
                  <c:v>1.3909199313274416</c:v>
                </c:pt>
                <c:pt idx="234">
                  <c:v>1.4329910814177311</c:v>
                </c:pt>
                <c:pt idx="235">
                  <c:v>1.4418285419589472</c:v>
                </c:pt>
                <c:pt idx="236">
                  <c:v>1.4088480540848813</c:v>
                </c:pt>
                <c:pt idx="237">
                  <c:v>1.3845510237756837</c:v>
                </c:pt>
                <c:pt idx="238">
                  <c:v>1.3609586892719987</c:v>
                </c:pt>
                <c:pt idx="239">
                  <c:v>1.3599307458379659</c:v>
                </c:pt>
                <c:pt idx="240">
                  <c:v>1.4124790118293675</c:v>
                </c:pt>
                <c:pt idx="241">
                  <c:v>1.4033461910575209</c:v>
                </c:pt>
                <c:pt idx="242">
                  <c:v>1.3716201711357807</c:v>
                </c:pt>
                <c:pt idx="243">
                  <c:v>1.3536815552037051</c:v>
                </c:pt>
                <c:pt idx="244">
                  <c:v>1.3698633636551181</c:v>
                </c:pt>
                <c:pt idx="245">
                  <c:v>1.3596540474254932</c:v>
                </c:pt>
                <c:pt idx="246">
                  <c:v>1.3360175173787661</c:v>
                </c:pt>
                <c:pt idx="247">
                  <c:v>1.3074912917276524</c:v>
                </c:pt>
                <c:pt idx="248">
                  <c:v>1.3070019667678601</c:v>
                </c:pt>
                <c:pt idx="249">
                  <c:v>1.2849784632874575</c:v>
                </c:pt>
                <c:pt idx="250">
                  <c:v>1.3265682984861691</c:v>
                </c:pt>
                <c:pt idx="251">
                  <c:v>1.3219765496105542</c:v>
                </c:pt>
                <c:pt idx="252">
                  <c:v>1.322914083882313</c:v>
                </c:pt>
                <c:pt idx="253">
                  <c:v>1.2897456493903077</c:v>
                </c:pt>
                <c:pt idx="254">
                  <c:v>1.2961119570355515</c:v>
                </c:pt>
                <c:pt idx="255">
                  <c:v>1.2588845409768021</c:v>
                </c:pt>
                <c:pt idx="256">
                  <c:v>1.2453433593334369</c:v>
                </c:pt>
                <c:pt idx="257">
                  <c:v>1.255320672446119</c:v>
                </c:pt>
                <c:pt idx="258">
                  <c:v>1.2038206922486561</c:v>
                </c:pt>
                <c:pt idx="259">
                  <c:v>1.2135527457051212</c:v>
                </c:pt>
                <c:pt idx="260">
                  <c:v>1.1890098891003706</c:v>
                </c:pt>
                <c:pt idx="261">
                  <c:v>1.1825031116335345</c:v>
                </c:pt>
                <c:pt idx="262">
                  <c:v>1.1734434101224882</c:v>
                </c:pt>
                <c:pt idx="263">
                  <c:v>1.1615333993624639</c:v>
                </c:pt>
                <c:pt idx="264">
                  <c:v>1.1214883431259706</c:v>
                </c:pt>
                <c:pt idx="265">
                  <c:v>1.1114512680483126</c:v>
                </c:pt>
                <c:pt idx="266">
                  <c:v>1.0704640931945431</c:v>
                </c:pt>
                <c:pt idx="267">
                  <c:v>1.1064288187914428</c:v>
                </c:pt>
                <c:pt idx="268">
                  <c:v>1.0897206598282985</c:v>
                </c:pt>
                <c:pt idx="269">
                  <c:v>1.0932640894277981</c:v>
                </c:pt>
                <c:pt idx="270">
                  <c:v>1.2250632770509875</c:v>
                </c:pt>
                <c:pt idx="271">
                  <c:v>1.2289627510785452</c:v>
                </c:pt>
                <c:pt idx="272">
                  <c:v>1.2382921261778974</c:v>
                </c:pt>
                <c:pt idx="273">
                  <c:v>1.2395673095218789</c:v>
                </c:pt>
                <c:pt idx="274">
                  <c:v>1.2315272285663155</c:v>
                </c:pt>
                <c:pt idx="275">
                  <c:v>1.2433358881577541</c:v>
                </c:pt>
                <c:pt idx="276">
                  <c:v>1.2035677101454221</c:v>
                </c:pt>
                <c:pt idx="277">
                  <c:v>1.2318058282548847</c:v>
                </c:pt>
                <c:pt idx="278">
                  <c:v>1.207937508385081</c:v>
                </c:pt>
                <c:pt idx="279">
                  <c:v>1.224860759640837</c:v>
                </c:pt>
                <c:pt idx="280">
                  <c:v>1.2074793270423569</c:v>
                </c:pt>
                <c:pt idx="281">
                  <c:v>1.1946665830128995</c:v>
                </c:pt>
                <c:pt idx="282">
                  <c:v>1.1716356101394303</c:v>
                </c:pt>
                <c:pt idx="283">
                  <c:v>1.1703167603017994</c:v>
                </c:pt>
                <c:pt idx="284">
                  <c:v>1.1183740579940791</c:v>
                </c:pt>
                <c:pt idx="285">
                  <c:v>1.1072265204880347</c:v>
                </c:pt>
                <c:pt idx="286">
                  <c:v>1.0896229750355539</c:v>
                </c:pt>
                <c:pt idx="287">
                  <c:v>1.0285614437080559</c:v>
                </c:pt>
                <c:pt idx="288">
                  <c:v>1.0386434784509295</c:v>
                </c:pt>
                <c:pt idx="289">
                  <c:v>0.97440901826925952</c:v>
                </c:pt>
                <c:pt idx="290">
                  <c:v>1.0805959300399266</c:v>
                </c:pt>
                <c:pt idx="291">
                  <c:v>1.1257700896741092</c:v>
                </c:pt>
                <c:pt idx="292">
                  <c:v>1.1515125898796912</c:v>
                </c:pt>
                <c:pt idx="293">
                  <c:v>1.0509681379112297</c:v>
                </c:pt>
                <c:pt idx="294">
                  <c:v>1.0841408124713712</c:v>
                </c:pt>
                <c:pt idx="295">
                  <c:v>1.0797877540024228</c:v>
                </c:pt>
                <c:pt idx="296">
                  <c:v>1.0435093157568485</c:v>
                </c:pt>
                <c:pt idx="297">
                  <c:v>1.0457660276350453</c:v>
                </c:pt>
                <c:pt idx="298">
                  <c:v>1.0791133532113131</c:v>
                </c:pt>
                <c:pt idx="299">
                  <c:v>1.0770806318241775</c:v>
                </c:pt>
                <c:pt idx="300">
                  <c:v>1.0164288286345808</c:v>
                </c:pt>
                <c:pt idx="301">
                  <c:v>1.0382019680544419</c:v>
                </c:pt>
                <c:pt idx="302">
                  <c:v>1.0180463976161964</c:v>
                </c:pt>
                <c:pt idx="303">
                  <c:v>1.0827195215893028</c:v>
                </c:pt>
                <c:pt idx="304">
                  <c:v>1.2367872599853071</c:v>
                </c:pt>
                <c:pt idx="305">
                  <c:v>1.2570301659685179</c:v>
                </c:pt>
                <c:pt idx="306">
                  <c:v>1.2289570112879153</c:v>
                </c:pt>
                <c:pt idx="307">
                  <c:v>1.2638114841075572</c:v>
                </c:pt>
                <c:pt idx="308">
                  <c:v>1.2225296493586844</c:v>
                </c:pt>
                <c:pt idx="309">
                  <c:v>1.2591417560952132</c:v>
                </c:pt>
                <c:pt idx="310">
                  <c:v>1.242739344665452</c:v>
                </c:pt>
                <c:pt idx="311">
                  <c:v>1.2604089995130394</c:v>
                </c:pt>
                <c:pt idx="312">
                  <c:v>1.2935719189015216</c:v>
                </c:pt>
                <c:pt idx="313">
                  <c:v>1.2602106735753664</c:v>
                </c:pt>
                <c:pt idx="314">
                  <c:v>1.2278282518575865</c:v>
                </c:pt>
                <c:pt idx="315">
                  <c:v>1.2666156598775138</c:v>
                </c:pt>
                <c:pt idx="316">
                  <c:v>1.2724285056710865</c:v>
                </c:pt>
                <c:pt idx="317">
                  <c:v>1.2601154775469108</c:v>
                </c:pt>
                <c:pt idx="318">
                  <c:v>1.2245385674759288</c:v>
                </c:pt>
                <c:pt idx="319">
                  <c:v>1.2496273931327626</c:v>
                </c:pt>
                <c:pt idx="320">
                  <c:v>1.2624554482825578</c:v>
                </c:pt>
                <c:pt idx="321">
                  <c:v>1.393472432736675</c:v>
                </c:pt>
                <c:pt idx="322">
                  <c:v>1.3638182810669104</c:v>
                </c:pt>
                <c:pt idx="323">
                  <c:v>1.3336402834607313</c:v>
                </c:pt>
                <c:pt idx="324">
                  <c:v>1.3040340477308625</c:v>
                </c:pt>
                <c:pt idx="325">
                  <c:v>1.2933413930306115</c:v>
                </c:pt>
                <c:pt idx="326">
                  <c:v>1.2281497859272124</c:v>
                </c:pt>
                <c:pt idx="327">
                  <c:v>1.2211646633293549</c:v>
                </c:pt>
                <c:pt idx="328">
                  <c:v>1.2158157416918312</c:v>
                </c:pt>
                <c:pt idx="329">
                  <c:v>1.1895895216908352</c:v>
                </c:pt>
                <c:pt idx="330">
                  <c:v>1.1660190591089887</c:v>
                </c:pt>
                <c:pt idx="331">
                  <c:v>1.1026227549987491</c:v>
                </c:pt>
                <c:pt idx="332">
                  <c:v>1.1187165453958281</c:v>
                </c:pt>
                <c:pt idx="333">
                  <c:v>1.1377899505727149</c:v>
                </c:pt>
                <c:pt idx="334">
                  <c:v>1.2191754758247479</c:v>
                </c:pt>
                <c:pt idx="335">
                  <c:v>1.2942697758174551</c:v>
                </c:pt>
                <c:pt idx="336">
                  <c:v>1.3116399407334507</c:v>
                </c:pt>
                <c:pt idx="337">
                  <c:v>1.2820531872125716</c:v>
                </c:pt>
                <c:pt idx="338">
                  <c:v>1.2275700497900153</c:v>
                </c:pt>
                <c:pt idx="339">
                  <c:v>1.2053049772883146</c:v>
                </c:pt>
                <c:pt idx="340">
                  <c:v>1.1953204379158717</c:v>
                </c:pt>
                <c:pt idx="341">
                  <c:v>1.1960498317094386</c:v>
                </c:pt>
                <c:pt idx="342">
                  <c:v>1.1888693161970765</c:v>
                </c:pt>
                <c:pt idx="343">
                  <c:v>1.169529043579304</c:v>
                </c:pt>
                <c:pt idx="344">
                  <c:v>1.1640204228101392</c:v>
                </c:pt>
                <c:pt idx="345">
                  <c:v>1.1225830449823002</c:v>
                </c:pt>
                <c:pt idx="346">
                  <c:v>1.0859062922232949</c:v>
                </c:pt>
                <c:pt idx="347">
                  <c:v>1.0680175366000135</c:v>
                </c:pt>
                <c:pt idx="348">
                  <c:v>1.0444242821115224</c:v>
                </c:pt>
                <c:pt idx="349">
                  <c:v>1.0259847494886052</c:v>
                </c:pt>
                <c:pt idx="350">
                  <c:v>1.0250033734067996</c:v>
                </c:pt>
                <c:pt idx="351">
                  <c:v>0.99953853484630684</c:v>
                </c:pt>
                <c:pt idx="352">
                  <c:v>0.96731020903341691</c:v>
                </c:pt>
                <c:pt idx="353">
                  <c:v>0.92807015229042822</c:v>
                </c:pt>
                <c:pt idx="354">
                  <c:v>0.8976401008588597</c:v>
                </c:pt>
                <c:pt idx="355">
                  <c:v>0.92228422539178534</c:v>
                </c:pt>
                <c:pt idx="356">
                  <c:v>0.92284265748655958</c:v>
                </c:pt>
                <c:pt idx="357">
                  <c:v>0.919777315158818</c:v>
                </c:pt>
                <c:pt idx="358">
                  <c:v>0.88366247524586261</c:v>
                </c:pt>
                <c:pt idx="359">
                  <c:v>0.91347083202511614</c:v>
                </c:pt>
                <c:pt idx="360">
                  <c:v>0.92732061749504502</c:v>
                </c:pt>
                <c:pt idx="361">
                  <c:v>0.8841572183503752</c:v>
                </c:pt>
                <c:pt idx="362">
                  <c:v>0.88246021608250014</c:v>
                </c:pt>
                <c:pt idx="363">
                  <c:v>0.90355365321161463</c:v>
                </c:pt>
                <c:pt idx="364">
                  <c:v>0.91497898799656552</c:v>
                </c:pt>
                <c:pt idx="365">
                  <c:v>0.97419561403638277</c:v>
                </c:pt>
                <c:pt idx="366">
                  <c:v>1.0933935340801701</c:v>
                </c:pt>
                <c:pt idx="367">
                  <c:v>1.0962853268933914</c:v>
                </c:pt>
                <c:pt idx="368">
                  <c:v>1.108702452499684</c:v>
                </c:pt>
                <c:pt idx="369">
                  <c:v>1.0699819963546315</c:v>
                </c:pt>
                <c:pt idx="370">
                  <c:v>1.0536524767858881</c:v>
                </c:pt>
                <c:pt idx="371">
                  <c:v>1.0416909844666766</c:v>
                </c:pt>
                <c:pt idx="372">
                  <c:v>1.0023082953565146</c:v>
                </c:pt>
                <c:pt idx="373">
                  <c:v>0.96499959100591637</c:v>
                </c:pt>
                <c:pt idx="374">
                  <c:v>0.97139600602586573</c:v>
                </c:pt>
                <c:pt idx="375">
                  <c:v>0.9550962362235802</c:v>
                </c:pt>
                <c:pt idx="376">
                  <c:v>0.9586063307510504</c:v>
                </c:pt>
                <c:pt idx="377">
                  <c:v>0.92288847048224865</c:v>
                </c:pt>
                <c:pt idx="378">
                  <c:v>0.90609620762422094</c:v>
                </c:pt>
                <c:pt idx="379">
                  <c:v>0.90336351149597727</c:v>
                </c:pt>
                <c:pt idx="380">
                  <c:v>0.90483589664455488</c:v>
                </c:pt>
                <c:pt idx="381">
                  <c:v>0.89544106528505529</c:v>
                </c:pt>
                <c:pt idx="382">
                  <c:v>0.88499993528329646</c:v>
                </c:pt>
                <c:pt idx="383">
                  <c:v>0.85119472466606738</c:v>
                </c:pt>
                <c:pt idx="384">
                  <c:v>0.81783672625848558</c:v>
                </c:pt>
                <c:pt idx="385">
                  <c:v>0.80897133762923445</c:v>
                </c:pt>
                <c:pt idx="386">
                  <c:v>0.7868109133604535</c:v>
                </c:pt>
                <c:pt idx="387">
                  <c:v>0.7789359906814175</c:v>
                </c:pt>
                <c:pt idx="388">
                  <c:v>0.81393039381007859</c:v>
                </c:pt>
                <c:pt idx="389">
                  <c:v>0.80308781747129721</c:v>
                </c:pt>
                <c:pt idx="390">
                  <c:v>0.92193668241388504</c:v>
                </c:pt>
                <c:pt idx="391">
                  <c:v>1.0707253699644914</c:v>
                </c:pt>
                <c:pt idx="392">
                  <c:v>1.1012821301980824</c:v>
                </c:pt>
                <c:pt idx="393">
                  <c:v>1.0815853773414212</c:v>
                </c:pt>
                <c:pt idx="394">
                  <c:v>1.0528608714031016</c:v>
                </c:pt>
                <c:pt idx="395">
                  <c:v>1.1008744809778257</c:v>
                </c:pt>
                <c:pt idx="396">
                  <c:v>1.0863830557865026</c:v>
                </c:pt>
                <c:pt idx="397">
                  <c:v>1.0543074944969519</c:v>
                </c:pt>
                <c:pt idx="398">
                  <c:v>1.0526149792282653</c:v>
                </c:pt>
                <c:pt idx="399">
                  <c:v>1.069911853597326</c:v>
                </c:pt>
                <c:pt idx="400">
                  <c:v>1.0641442145550313</c:v>
                </c:pt>
                <c:pt idx="401">
                  <c:v>1.0544924153956976</c:v>
                </c:pt>
                <c:pt idx="402">
                  <c:v>1.0494681898783571</c:v>
                </c:pt>
                <c:pt idx="403">
                  <c:v>0.97396285664040638</c:v>
                </c:pt>
                <c:pt idx="404">
                  <c:v>0.97107642330059085</c:v>
                </c:pt>
                <c:pt idx="405">
                  <c:v>0.98136861093997907</c:v>
                </c:pt>
                <c:pt idx="406">
                  <c:v>0.9749270752768493</c:v>
                </c:pt>
                <c:pt idx="407">
                  <c:v>0.95997381724792796</c:v>
                </c:pt>
                <c:pt idx="408">
                  <c:v>0.92864768542441345</c:v>
                </c:pt>
                <c:pt idx="409">
                  <c:v>0.95443602582995246</c:v>
                </c:pt>
                <c:pt idx="410">
                  <c:v>0.95011941929815324</c:v>
                </c:pt>
                <c:pt idx="411">
                  <c:v>0.92971525788212972</c:v>
                </c:pt>
                <c:pt idx="412">
                  <c:v>0.92283599569599373</c:v>
                </c:pt>
                <c:pt idx="413">
                  <c:v>0.88644229753766002</c:v>
                </c:pt>
                <c:pt idx="414">
                  <c:v>0.88067444744914547</c:v>
                </c:pt>
                <c:pt idx="415">
                  <c:v>0.8850902465567061</c:v>
                </c:pt>
                <c:pt idx="416">
                  <c:v>0.83052876657629615</c:v>
                </c:pt>
                <c:pt idx="417">
                  <c:v>0.80636167191388974</c:v>
                </c:pt>
                <c:pt idx="418">
                  <c:v>0.82736026752259373</c:v>
                </c:pt>
                <c:pt idx="419">
                  <c:v>0.82599109273346349</c:v>
                </c:pt>
                <c:pt idx="420">
                  <c:v>0.80577122651801036</c:v>
                </c:pt>
                <c:pt idx="421">
                  <c:v>0.8045547742444894</c:v>
                </c:pt>
                <c:pt idx="422">
                  <c:v>0.79817691586836093</c:v>
                </c:pt>
                <c:pt idx="423">
                  <c:v>0.78021707146127595</c:v>
                </c:pt>
                <c:pt idx="424">
                  <c:v>0.75806613148404489</c:v>
                </c:pt>
                <c:pt idx="425">
                  <c:v>0.7509104396729096</c:v>
                </c:pt>
                <c:pt idx="426">
                  <c:v>0.72720272380607054</c:v>
                </c:pt>
                <c:pt idx="427">
                  <c:v>0.70381569759146356</c:v>
                </c:pt>
                <c:pt idx="428">
                  <c:v>0.71096995966715548</c:v>
                </c:pt>
                <c:pt idx="429">
                  <c:v>0.69407678431905873</c:v>
                </c:pt>
                <c:pt idx="430">
                  <c:v>0.68963620739325404</c:v>
                </c:pt>
                <c:pt idx="431">
                  <c:v>0.69349581344909494</c:v>
                </c:pt>
                <c:pt idx="432">
                  <c:v>0.68695931148244327</c:v>
                </c:pt>
                <c:pt idx="433">
                  <c:v>0.65913225343496684</c:v>
                </c:pt>
                <c:pt idx="434">
                  <c:v>0.62757879437347674</c:v>
                </c:pt>
                <c:pt idx="435">
                  <c:v>0.61971751273621067</c:v>
                </c:pt>
                <c:pt idx="436">
                  <c:v>0.62692368210626626</c:v>
                </c:pt>
                <c:pt idx="437">
                  <c:v>0.62243076416790322</c:v>
                </c:pt>
                <c:pt idx="438">
                  <c:v>0.64005003609022282</c:v>
                </c:pt>
                <c:pt idx="439">
                  <c:v>0.64810911229061885</c:v>
                </c:pt>
                <c:pt idx="440">
                  <c:v>0.63253658412199409</c:v>
                </c:pt>
                <c:pt idx="441">
                  <c:v>0.6149002738795557</c:v>
                </c:pt>
                <c:pt idx="442">
                  <c:v>0.60658070363259275</c:v>
                </c:pt>
                <c:pt idx="443">
                  <c:v>0.60555430650158137</c:v>
                </c:pt>
                <c:pt idx="444">
                  <c:v>0.5839029436956138</c:v>
                </c:pt>
                <c:pt idx="445">
                  <c:v>0.5871666836531888</c:v>
                </c:pt>
                <c:pt idx="446">
                  <c:v>0.5732661398235861</c:v>
                </c:pt>
                <c:pt idx="447">
                  <c:v>0.5602096006731172</c:v>
                </c:pt>
                <c:pt idx="448">
                  <c:v>0.54997982559351377</c:v>
                </c:pt>
                <c:pt idx="449">
                  <c:v>0.53391641182364324</c:v>
                </c:pt>
                <c:pt idx="450">
                  <c:v>0.52888863804813968</c:v>
                </c:pt>
                <c:pt idx="451">
                  <c:v>0.49897969344742332</c:v>
                </c:pt>
                <c:pt idx="452">
                  <c:v>0.49834389528077416</c:v>
                </c:pt>
                <c:pt idx="453">
                  <c:v>0.48158378174519334</c:v>
                </c:pt>
                <c:pt idx="454">
                  <c:v>0.46635578284855517</c:v>
                </c:pt>
                <c:pt idx="455">
                  <c:v>0.46383211726636486</c:v>
                </c:pt>
                <c:pt idx="456">
                  <c:v>0.45594166490278276</c:v>
                </c:pt>
                <c:pt idx="457">
                  <c:v>0.47411201276167114</c:v>
                </c:pt>
                <c:pt idx="458">
                  <c:v>0.46013081765413011</c:v>
                </c:pt>
                <c:pt idx="459">
                  <c:v>0.45866383948954725</c:v>
                </c:pt>
                <c:pt idx="460">
                  <c:v>0.45434800359034488</c:v>
                </c:pt>
                <c:pt idx="461">
                  <c:v>0.44326153447420347</c:v>
                </c:pt>
                <c:pt idx="462">
                  <c:v>0.44165276006680165</c:v>
                </c:pt>
                <c:pt idx="463">
                  <c:v>0.43436408898601608</c:v>
                </c:pt>
                <c:pt idx="464">
                  <c:v>0.43426839545271867</c:v>
                </c:pt>
                <c:pt idx="465">
                  <c:v>0.4542282633438306</c:v>
                </c:pt>
                <c:pt idx="466">
                  <c:v>0.4234268855057608</c:v>
                </c:pt>
                <c:pt idx="467">
                  <c:v>0.41110683472755971</c:v>
                </c:pt>
                <c:pt idx="468">
                  <c:v>0.4113153390919071</c:v>
                </c:pt>
                <c:pt idx="469">
                  <c:v>0.42022239977765463</c:v>
                </c:pt>
                <c:pt idx="470">
                  <c:v>0.37330544580626923</c:v>
                </c:pt>
                <c:pt idx="471">
                  <c:v>0.36365731922318045</c:v>
                </c:pt>
                <c:pt idx="472">
                  <c:v>0.35047012696177959</c:v>
                </c:pt>
                <c:pt idx="473">
                  <c:v>0.36013676663085814</c:v>
                </c:pt>
                <c:pt idx="474">
                  <c:v>0.35174054886123129</c:v>
                </c:pt>
                <c:pt idx="475">
                  <c:v>0.34982902582289754</c:v>
                </c:pt>
                <c:pt idx="476">
                  <c:v>0.34335511444510369</c:v>
                </c:pt>
                <c:pt idx="477">
                  <c:v>0.32180513946760536</c:v>
                </c:pt>
                <c:pt idx="478">
                  <c:v>0.29688370244978834</c:v>
                </c:pt>
                <c:pt idx="479">
                  <c:v>0.28144836703472143</c:v>
                </c:pt>
                <c:pt idx="480">
                  <c:v>0.27801566043554726</c:v>
                </c:pt>
                <c:pt idx="481">
                  <c:v>0.27604804211809952</c:v>
                </c:pt>
                <c:pt idx="482">
                  <c:v>0.27537837378463537</c:v>
                </c:pt>
                <c:pt idx="483">
                  <c:v>0.27244022365784093</c:v>
                </c:pt>
                <c:pt idx="484">
                  <c:v>0.29714954488654111</c:v>
                </c:pt>
                <c:pt idx="485">
                  <c:v>0.28645967370223979</c:v>
                </c:pt>
                <c:pt idx="486">
                  <c:v>0.28357135466483996</c:v>
                </c:pt>
                <c:pt idx="487">
                  <c:v>0.31624599851175028</c:v>
                </c:pt>
                <c:pt idx="488">
                  <c:v>0.32302740740918923</c:v>
                </c:pt>
                <c:pt idx="489">
                  <c:v>0.34411081259615184</c:v>
                </c:pt>
                <c:pt idx="490">
                  <c:v>0.34162700049223638</c:v>
                </c:pt>
                <c:pt idx="491">
                  <c:v>0.32560243224761631</c:v>
                </c:pt>
                <c:pt idx="492">
                  <c:v>0.33530844083346967</c:v>
                </c:pt>
                <c:pt idx="493">
                  <c:v>0.33152040238756042</c:v>
                </c:pt>
                <c:pt idx="494">
                  <c:v>0.36987903060108374</c:v>
                </c:pt>
                <c:pt idx="495">
                  <c:v>0.34768886958669176</c:v>
                </c:pt>
                <c:pt idx="496">
                  <c:v>0.34247031150127683</c:v>
                </c:pt>
                <c:pt idx="497">
                  <c:v>0.31287865183396124</c:v>
                </c:pt>
                <c:pt idx="498">
                  <c:v>0.30486562835233699</c:v>
                </c:pt>
                <c:pt idx="499">
                  <c:v>0.29083256175776051</c:v>
                </c:pt>
                <c:pt idx="500">
                  <c:v>0.30991468090362106</c:v>
                </c:pt>
                <c:pt idx="501">
                  <c:v>0.30386658150929957</c:v>
                </c:pt>
                <c:pt idx="502">
                  <c:v>0.28951827975707367</c:v>
                </c:pt>
                <c:pt idx="503">
                  <c:v>0.27618186448755799</c:v>
                </c:pt>
                <c:pt idx="504">
                  <c:v>0.2605789003228649</c:v>
                </c:pt>
                <c:pt idx="505">
                  <c:v>0.26836183296935889</c:v>
                </c:pt>
                <c:pt idx="506">
                  <c:v>0.26535195851744553</c:v>
                </c:pt>
                <c:pt idx="507">
                  <c:v>0.25973162950390738</c:v>
                </c:pt>
                <c:pt idx="508">
                  <c:v>0.27119644295276735</c:v>
                </c:pt>
                <c:pt idx="509">
                  <c:v>0.27925650928002921</c:v>
                </c:pt>
                <c:pt idx="510">
                  <c:v>0.2931982049523103</c:v>
                </c:pt>
                <c:pt idx="511">
                  <c:v>0.28973319030037059</c:v>
                </c:pt>
                <c:pt idx="512">
                  <c:v>0.29589907007129979</c:v>
                </c:pt>
                <c:pt idx="513">
                  <c:v>0.29380692115342932</c:v>
                </c:pt>
                <c:pt idx="514">
                  <c:v>0.27958259134530916</c:v>
                </c:pt>
                <c:pt idx="515">
                  <c:v>0.27941178822182522</c:v>
                </c:pt>
                <c:pt idx="516">
                  <c:v>0.25366921454146674</c:v>
                </c:pt>
                <c:pt idx="517">
                  <c:v>0.25034339847347864</c:v>
                </c:pt>
                <c:pt idx="518">
                  <c:v>0.26735204191286699</c:v>
                </c:pt>
                <c:pt idx="519">
                  <c:v>0.29691767577581052</c:v>
                </c:pt>
                <c:pt idx="520">
                  <c:v>0.3344430437561694</c:v>
                </c:pt>
                <c:pt idx="521">
                  <c:v>0.30701072987502465</c:v>
                </c:pt>
                <c:pt idx="522">
                  <c:v>0.30342634824083548</c:v>
                </c:pt>
                <c:pt idx="523">
                  <c:v>0.29119220699239823</c:v>
                </c:pt>
                <c:pt idx="524">
                  <c:v>0.26537319024766703</c:v>
                </c:pt>
                <c:pt idx="525">
                  <c:v>0.23716921062746166</c:v>
                </c:pt>
                <c:pt idx="526">
                  <c:v>0.21126524805061453</c:v>
                </c:pt>
                <c:pt idx="527">
                  <c:v>0.21911121949760348</c:v>
                </c:pt>
                <c:pt idx="528">
                  <c:v>0.2605915431772452</c:v>
                </c:pt>
                <c:pt idx="529">
                  <c:v>0.27886039335202284</c:v>
                </c:pt>
                <c:pt idx="530">
                  <c:v>0.27079552489008663</c:v>
                </c:pt>
                <c:pt idx="531">
                  <c:v>0.26715447056424768</c:v>
                </c:pt>
                <c:pt idx="532">
                  <c:v>0.25328569511982812</c:v>
                </c:pt>
                <c:pt idx="533">
                  <c:v>0.2546065861301503</c:v>
                </c:pt>
                <c:pt idx="534">
                  <c:v>0.28377925619499944</c:v>
                </c:pt>
                <c:pt idx="535">
                  <c:v>0.27533370220564857</c:v>
                </c:pt>
                <c:pt idx="536">
                  <c:v>0.25122563731812031</c:v>
                </c:pt>
                <c:pt idx="537">
                  <c:v>0.24521694784073889</c:v>
                </c:pt>
                <c:pt idx="538">
                  <c:v>0.24443092475834338</c:v>
                </c:pt>
                <c:pt idx="539">
                  <c:v>0.25599056670676723</c:v>
                </c:pt>
                <c:pt idx="540">
                  <c:v>0.23786020369719374</c:v>
                </c:pt>
                <c:pt idx="541">
                  <c:v>0.2289577730849357</c:v>
                </c:pt>
                <c:pt idx="542">
                  <c:v>0.22868381796329795</c:v>
                </c:pt>
                <c:pt idx="543">
                  <c:v>0.25587746205411621</c:v>
                </c:pt>
                <c:pt idx="544">
                  <c:v>0.25668635051793287</c:v>
                </c:pt>
                <c:pt idx="545">
                  <c:v>0.23369638889300259</c:v>
                </c:pt>
                <c:pt idx="546">
                  <c:v>0.21625988648457217</c:v>
                </c:pt>
                <c:pt idx="547">
                  <c:v>0.22459288060418747</c:v>
                </c:pt>
                <c:pt idx="548">
                  <c:v>0.19480072020782035</c:v>
                </c:pt>
                <c:pt idx="549">
                  <c:v>0.18077688105309675</c:v>
                </c:pt>
                <c:pt idx="550">
                  <c:v>0.20997233542909721</c:v>
                </c:pt>
                <c:pt idx="551">
                  <c:v>0.21719922212843423</c:v>
                </c:pt>
                <c:pt idx="552">
                  <c:v>0.23918942750671035</c:v>
                </c:pt>
                <c:pt idx="553">
                  <c:v>0.37616709551496363</c:v>
                </c:pt>
                <c:pt idx="554">
                  <c:v>0.3675522676540417</c:v>
                </c:pt>
                <c:pt idx="555">
                  <c:v>0.34910882304181601</c:v>
                </c:pt>
                <c:pt idx="556">
                  <c:v>0.34470623769074882</c:v>
                </c:pt>
                <c:pt idx="557">
                  <c:v>0.36070045139709639</c:v>
                </c:pt>
                <c:pt idx="558">
                  <c:v>0.38755136549539482</c:v>
                </c:pt>
                <c:pt idx="559">
                  <c:v>0.36480953973865704</c:v>
                </c:pt>
                <c:pt idx="560">
                  <c:v>0.36157879049822572</c:v>
                </c:pt>
                <c:pt idx="561">
                  <c:v>0.34456779199073995</c:v>
                </c:pt>
                <c:pt idx="562">
                  <c:v>0.350249671630531</c:v>
                </c:pt>
                <c:pt idx="563">
                  <c:v>0.34573560070706488</c:v>
                </c:pt>
                <c:pt idx="564">
                  <c:v>0.32072934388032448</c:v>
                </c:pt>
                <c:pt idx="565">
                  <c:v>0.29562930905731077</c:v>
                </c:pt>
                <c:pt idx="566">
                  <c:v>0.28439049495260282</c:v>
                </c:pt>
                <c:pt idx="567">
                  <c:v>0.31068886594395484</c:v>
                </c:pt>
                <c:pt idx="568">
                  <c:v>0.27666572758978858</c:v>
                </c:pt>
                <c:pt idx="569">
                  <c:v>0.27851726893636264</c:v>
                </c:pt>
                <c:pt idx="570">
                  <c:v>0.27884340905291616</c:v>
                </c:pt>
                <c:pt idx="571">
                  <c:v>0.27025855758318462</c:v>
                </c:pt>
                <c:pt idx="572">
                  <c:v>0.27041237656257167</c:v>
                </c:pt>
                <c:pt idx="573">
                  <c:v>0.2803008648709755</c:v>
                </c:pt>
                <c:pt idx="574">
                  <c:v>0.28308400065817518</c:v>
                </c:pt>
                <c:pt idx="575">
                  <c:v>0.24381898806786917</c:v>
                </c:pt>
                <c:pt idx="576">
                  <c:v>0.23405178049612307</c:v>
                </c:pt>
                <c:pt idx="577">
                  <c:v>0.2112379934038584</c:v>
                </c:pt>
                <c:pt idx="578">
                  <c:v>0.19826610920909649</c:v>
                </c:pt>
                <c:pt idx="579">
                  <c:v>0.19153482762530905</c:v>
                </c:pt>
                <c:pt idx="580">
                  <c:v>0.17628662045248134</c:v>
                </c:pt>
                <c:pt idx="581">
                  <c:v>0.17433685410304522</c:v>
                </c:pt>
                <c:pt idx="582">
                  <c:v>0.17030484731236384</c:v>
                </c:pt>
                <c:pt idx="583">
                  <c:v>0.16584506804826327</c:v>
                </c:pt>
                <c:pt idx="584">
                  <c:v>0.16249910005024848</c:v>
                </c:pt>
                <c:pt idx="585">
                  <c:v>0.12948598945296119</c:v>
                </c:pt>
                <c:pt idx="586">
                  <c:v>0.14870724308610672</c:v>
                </c:pt>
                <c:pt idx="587">
                  <c:v>0.14010301791443891</c:v>
                </c:pt>
                <c:pt idx="588">
                  <c:v>0.12511357162050918</c:v>
                </c:pt>
                <c:pt idx="589">
                  <c:v>9.1360723639743791E-2</c:v>
                </c:pt>
                <c:pt idx="590">
                  <c:v>9.9326186697083596E-2</c:v>
                </c:pt>
                <c:pt idx="591">
                  <c:v>0.10792483088594595</c:v>
                </c:pt>
                <c:pt idx="592">
                  <c:v>9.8023547735781369E-2</c:v>
                </c:pt>
                <c:pt idx="593">
                  <c:v>0.13218754754449891</c:v>
                </c:pt>
                <c:pt idx="594">
                  <c:v>0.15052365271635604</c:v>
                </c:pt>
                <c:pt idx="595">
                  <c:v>0.15841972574532348</c:v>
                </c:pt>
                <c:pt idx="596">
                  <c:v>0.19057184379913772</c:v>
                </c:pt>
                <c:pt idx="597">
                  <c:v>0.2033098433646443</c:v>
                </c:pt>
                <c:pt idx="598">
                  <c:v>0.24958139645013167</c:v>
                </c:pt>
                <c:pt idx="599">
                  <c:v>0.24539768338990497</c:v>
                </c:pt>
                <c:pt idx="600">
                  <c:v>0.24521982870301651</c:v>
                </c:pt>
                <c:pt idx="601">
                  <c:v>0.26881486890759287</c:v>
                </c:pt>
                <c:pt idx="602">
                  <c:v>0.29195725876150114</c:v>
                </c:pt>
                <c:pt idx="603">
                  <c:v>0.30366217429379772</c:v>
                </c:pt>
                <c:pt idx="604">
                  <c:v>0.32415731058136976</c:v>
                </c:pt>
                <c:pt idx="605">
                  <c:v>0.32239597758151506</c:v>
                </c:pt>
                <c:pt idx="606">
                  <c:v>0.3341717546528431</c:v>
                </c:pt>
                <c:pt idx="607">
                  <c:v>0.32353687344830329</c:v>
                </c:pt>
                <c:pt idx="608">
                  <c:v>0.31421084176129854</c:v>
                </c:pt>
                <c:pt idx="609">
                  <c:v>0.28715386943516985</c:v>
                </c:pt>
                <c:pt idx="610">
                  <c:v>0.27261223089960285</c:v>
                </c:pt>
                <c:pt idx="611">
                  <c:v>0.29345374619440845</c:v>
                </c:pt>
                <c:pt idx="612">
                  <c:v>0.28198676508463394</c:v>
                </c:pt>
                <c:pt idx="613">
                  <c:v>0.29115526530091174</c:v>
                </c:pt>
                <c:pt idx="614">
                  <c:v>0.29746559299453956</c:v>
                </c:pt>
                <c:pt idx="615">
                  <c:v>0.30201842852799543</c:v>
                </c:pt>
                <c:pt idx="616">
                  <c:v>0.29232003349458036</c:v>
                </c:pt>
                <c:pt idx="617">
                  <c:v>0.28291385570747773</c:v>
                </c:pt>
                <c:pt idx="618">
                  <c:v>0.27537894212908309</c:v>
                </c:pt>
                <c:pt idx="619">
                  <c:v>0.25425713009538753</c:v>
                </c:pt>
                <c:pt idx="620">
                  <c:v>0.25796986712614012</c:v>
                </c:pt>
                <c:pt idx="621">
                  <c:v>0.25133587606696617</c:v>
                </c:pt>
                <c:pt idx="622">
                  <c:v>0.24356449275626568</c:v>
                </c:pt>
                <c:pt idx="623">
                  <c:v>0.24072437138957614</c:v>
                </c:pt>
                <c:pt idx="624">
                  <c:v>0.23608684927835744</c:v>
                </c:pt>
                <c:pt idx="625">
                  <c:v>0.24851761429881458</c:v>
                </c:pt>
                <c:pt idx="626">
                  <c:v>0.25017994244011121</c:v>
                </c:pt>
                <c:pt idx="627">
                  <c:v>0.23716713938281653</c:v>
                </c:pt>
                <c:pt idx="628">
                  <c:v>0.22083814142298164</c:v>
                </c:pt>
                <c:pt idx="629">
                  <c:v>0.20212746602625065</c:v>
                </c:pt>
                <c:pt idx="630">
                  <c:v>0.19439930223764312</c:v>
                </c:pt>
                <c:pt idx="631">
                  <c:v>0.20439578552403037</c:v>
                </c:pt>
                <c:pt idx="632">
                  <c:v>0.21340435765878341</c:v>
                </c:pt>
                <c:pt idx="633">
                  <c:v>0.18021891375603905</c:v>
                </c:pt>
                <c:pt idx="634">
                  <c:v>0.18437744116650956</c:v>
                </c:pt>
                <c:pt idx="635">
                  <c:v>0.16062348385612957</c:v>
                </c:pt>
                <c:pt idx="636">
                  <c:v>0.15245958945426419</c:v>
                </c:pt>
                <c:pt idx="637">
                  <c:v>0.16048677612910223</c:v>
                </c:pt>
                <c:pt idx="638">
                  <c:v>0.14438020577122956</c:v>
                </c:pt>
                <c:pt idx="639">
                  <c:v>0.16556536058018079</c:v>
                </c:pt>
                <c:pt idx="640">
                  <c:v>0.14145758935924313</c:v>
                </c:pt>
                <c:pt idx="641">
                  <c:v>0.13712102985285091</c:v>
                </c:pt>
                <c:pt idx="642">
                  <c:v>0.15738489567860858</c:v>
                </c:pt>
                <c:pt idx="643">
                  <c:v>0.17807761556059609</c:v>
                </c:pt>
                <c:pt idx="644">
                  <c:v>0.17029693730315443</c:v>
                </c:pt>
                <c:pt idx="645">
                  <c:v>0.19115441197043892</c:v>
                </c:pt>
                <c:pt idx="646">
                  <c:v>0.18787101743266854</c:v>
                </c:pt>
                <c:pt idx="647">
                  <c:v>0.16159308258231841</c:v>
                </c:pt>
                <c:pt idx="648">
                  <c:v>0.15921094399044411</c:v>
                </c:pt>
                <c:pt idx="649">
                  <c:v>0.14648706065009787</c:v>
                </c:pt>
                <c:pt idx="650">
                  <c:v>0.14136816970379429</c:v>
                </c:pt>
                <c:pt idx="651">
                  <c:v>0.12670013424647952</c:v>
                </c:pt>
                <c:pt idx="652">
                  <c:v>0.14644764941557176</c:v>
                </c:pt>
                <c:pt idx="653">
                  <c:v>0.14407449799793115</c:v>
                </c:pt>
                <c:pt idx="654">
                  <c:v>0.13493780956965806</c:v>
                </c:pt>
                <c:pt idx="655">
                  <c:v>0.14552320008693198</c:v>
                </c:pt>
                <c:pt idx="656">
                  <c:v>0.15585755410995095</c:v>
                </c:pt>
                <c:pt idx="657">
                  <c:v>0.16496292321723294</c:v>
                </c:pt>
                <c:pt idx="658">
                  <c:v>0.16447266742192945</c:v>
                </c:pt>
                <c:pt idx="659">
                  <c:v>0.15084162969224435</c:v>
                </c:pt>
                <c:pt idx="660">
                  <c:v>0.14002965288516211</c:v>
                </c:pt>
                <c:pt idx="661">
                  <c:v>0.16435450324037126</c:v>
                </c:pt>
                <c:pt idx="662">
                  <c:v>0.15137843315349531</c:v>
                </c:pt>
                <c:pt idx="663">
                  <c:v>0.16021771591566947</c:v>
                </c:pt>
                <c:pt idx="664">
                  <c:v>0.14558832485803008</c:v>
                </c:pt>
                <c:pt idx="665">
                  <c:v>0.16414993481438955</c:v>
                </c:pt>
                <c:pt idx="666">
                  <c:v>0.17580311883374944</c:v>
                </c:pt>
                <c:pt idx="667">
                  <c:v>0.15052062350943451</c:v>
                </c:pt>
                <c:pt idx="668">
                  <c:v>0.12979189866185403</c:v>
                </c:pt>
                <c:pt idx="669">
                  <c:v>0.11882578556975698</c:v>
                </c:pt>
                <c:pt idx="670">
                  <c:v>0.13368009190857677</c:v>
                </c:pt>
                <c:pt idx="671">
                  <c:v>0.12211631258619193</c:v>
                </c:pt>
                <c:pt idx="672">
                  <c:v>0.10530189181273353</c:v>
                </c:pt>
                <c:pt idx="673">
                  <c:v>0.10011988285578632</c:v>
                </c:pt>
                <c:pt idx="674">
                  <c:v>0.10403898301919012</c:v>
                </c:pt>
                <c:pt idx="675">
                  <c:v>8.0651452324288719E-2</c:v>
                </c:pt>
                <c:pt idx="676">
                  <c:v>6.1409994755235786E-2</c:v>
                </c:pt>
                <c:pt idx="677">
                  <c:v>6.1193660444383013E-2</c:v>
                </c:pt>
                <c:pt idx="678">
                  <c:v>5.7106636624682183E-2</c:v>
                </c:pt>
                <c:pt idx="679">
                  <c:v>6.2507454473348378E-2</c:v>
                </c:pt>
                <c:pt idx="680">
                  <c:v>5.1315040387489574E-2</c:v>
                </c:pt>
                <c:pt idx="681">
                  <c:v>4.1463949422693824E-2</c:v>
                </c:pt>
                <c:pt idx="682">
                  <c:v>2.4035523271780823E-2</c:v>
                </c:pt>
                <c:pt idx="683">
                  <c:v>1.7530736909381339E-2</c:v>
                </c:pt>
                <c:pt idx="684">
                  <c:v>2.678384240065057E-3</c:v>
                </c:pt>
                <c:pt idx="685">
                  <c:v>-2.2501329327664799E-2</c:v>
                </c:pt>
                <c:pt idx="686">
                  <c:v>-2.0948023958665907E-2</c:v>
                </c:pt>
                <c:pt idx="687">
                  <c:v>-4.1987936030749906E-2</c:v>
                </c:pt>
                <c:pt idx="688">
                  <c:v>-4.8260243627786248E-2</c:v>
                </c:pt>
                <c:pt idx="689">
                  <c:v>-4.6966818465449922E-2</c:v>
                </c:pt>
                <c:pt idx="690">
                  <c:v>-6.4427221412594493E-2</c:v>
                </c:pt>
                <c:pt idx="691">
                  <c:v>-6.0674603466783328E-2</c:v>
                </c:pt>
                <c:pt idx="692">
                  <c:v>-5.8913279845037914E-2</c:v>
                </c:pt>
                <c:pt idx="693">
                  <c:v>-6.6023863646314518E-2</c:v>
                </c:pt>
                <c:pt idx="694">
                  <c:v>-6.1951197712483363E-2</c:v>
                </c:pt>
                <c:pt idx="695">
                  <c:v>-7.5272467024898315E-2</c:v>
                </c:pt>
                <c:pt idx="696">
                  <c:v>-7.0787251072222279E-2</c:v>
                </c:pt>
                <c:pt idx="697">
                  <c:v>-6.6401927643309433E-2</c:v>
                </c:pt>
                <c:pt idx="698">
                  <c:v>-6.3705358706104276E-2</c:v>
                </c:pt>
                <c:pt idx="699">
                  <c:v>-4.0402861191496831E-2</c:v>
                </c:pt>
                <c:pt idx="700">
                  <c:v>-3.8732921900418549E-2</c:v>
                </c:pt>
                <c:pt idx="701">
                  <c:v>-4.8613812467412032E-2</c:v>
                </c:pt>
                <c:pt idx="702">
                  <c:v>-4.9605889204840548E-2</c:v>
                </c:pt>
                <c:pt idx="703">
                  <c:v>-5.2269632278118205E-2</c:v>
                </c:pt>
                <c:pt idx="704">
                  <c:v>-6.8962950731517592E-2</c:v>
                </c:pt>
                <c:pt idx="705">
                  <c:v>-6.6157060085081487E-2</c:v>
                </c:pt>
                <c:pt idx="706">
                  <c:v>-5.3036357536010437E-2</c:v>
                </c:pt>
                <c:pt idx="707">
                  <c:v>-5.2660586293061251E-2</c:v>
                </c:pt>
                <c:pt idx="708">
                  <c:v>-5.3311210165992939E-2</c:v>
                </c:pt>
                <c:pt idx="709">
                  <c:v>-6.1356370414247796E-2</c:v>
                </c:pt>
                <c:pt idx="710">
                  <c:v>-8.9068191800476537E-2</c:v>
                </c:pt>
                <c:pt idx="711">
                  <c:v>-9.5993069344453508E-2</c:v>
                </c:pt>
                <c:pt idx="712">
                  <c:v>-8.1046258727162312E-2</c:v>
                </c:pt>
                <c:pt idx="713">
                  <c:v>-7.9495730673709963E-2</c:v>
                </c:pt>
                <c:pt idx="714">
                  <c:v>-8.4510742857114574E-2</c:v>
                </c:pt>
                <c:pt idx="715">
                  <c:v>-9.8439429231193865E-2</c:v>
                </c:pt>
                <c:pt idx="716">
                  <c:v>-9.0063517471610122E-2</c:v>
                </c:pt>
                <c:pt idx="717">
                  <c:v>-8.951970507472562E-2</c:v>
                </c:pt>
                <c:pt idx="718">
                  <c:v>-8.2686165125877453E-2</c:v>
                </c:pt>
                <c:pt idx="719">
                  <c:v>-6.9609326553293771E-2</c:v>
                </c:pt>
                <c:pt idx="720">
                  <c:v>-7.9051562319435331E-2</c:v>
                </c:pt>
                <c:pt idx="721">
                  <c:v>-7.3742556861763231E-2</c:v>
                </c:pt>
                <c:pt idx="722">
                  <c:v>-9.2940631218082159E-2</c:v>
                </c:pt>
                <c:pt idx="723">
                  <c:v>-0.13862150422243402</c:v>
                </c:pt>
                <c:pt idx="724">
                  <c:v>-0.12688280866168233</c:v>
                </c:pt>
                <c:pt idx="725">
                  <c:v>-0.13744445427035934</c:v>
                </c:pt>
                <c:pt idx="726">
                  <c:v>-0.15146197211415047</c:v>
                </c:pt>
                <c:pt idx="727">
                  <c:v>-0.18014326744345688</c:v>
                </c:pt>
                <c:pt idx="728">
                  <c:v>-0.17208018640271616</c:v>
                </c:pt>
                <c:pt idx="729">
                  <c:v>-0.15934353271220125</c:v>
                </c:pt>
                <c:pt idx="730">
                  <c:v>-0.15506457138512286</c:v>
                </c:pt>
                <c:pt idx="731">
                  <c:v>-0.15367358574812406</c:v>
                </c:pt>
                <c:pt idx="732">
                  <c:v>-0.16122002138053848</c:v>
                </c:pt>
                <c:pt idx="733">
                  <c:v>-0.15455435571727794</c:v>
                </c:pt>
                <c:pt idx="734">
                  <c:v>-0.15853582092987761</c:v>
                </c:pt>
                <c:pt idx="735">
                  <c:v>-0.17104810156446104</c:v>
                </c:pt>
                <c:pt idx="736">
                  <c:v>-0.16377246473850005</c:v>
                </c:pt>
                <c:pt idx="737">
                  <c:v>-0.17748847325692396</c:v>
                </c:pt>
                <c:pt idx="738">
                  <c:v>-0.18468537294688048</c:v>
                </c:pt>
                <c:pt idx="739">
                  <c:v>-0.17573848428201566</c:v>
                </c:pt>
                <c:pt idx="740">
                  <c:v>-0.18439883100700538</c:v>
                </c:pt>
                <c:pt idx="741">
                  <c:v>-0.19125416521764405</c:v>
                </c:pt>
                <c:pt idx="742">
                  <c:v>-0.20291291216113594</c:v>
                </c:pt>
                <c:pt idx="743">
                  <c:v>-0.17278658700905336</c:v>
                </c:pt>
                <c:pt idx="744">
                  <c:v>-0.17094505458563436</c:v>
                </c:pt>
                <c:pt idx="745">
                  <c:v>-0.15512881066115725</c:v>
                </c:pt>
                <c:pt idx="746">
                  <c:v>-0.14716550821177332</c:v>
                </c:pt>
                <c:pt idx="747">
                  <c:v>-0.12176076202023522</c:v>
                </c:pt>
                <c:pt idx="748">
                  <c:v>-0.11777603710072992</c:v>
                </c:pt>
                <c:pt idx="749">
                  <c:v>-0.10954507751162457</c:v>
                </c:pt>
                <c:pt idx="750">
                  <c:v>-0.13587374258731966</c:v>
                </c:pt>
                <c:pt idx="751">
                  <c:v>-0.15640739112847701</c:v>
                </c:pt>
                <c:pt idx="752">
                  <c:v>-0.15116749869616986</c:v>
                </c:pt>
                <c:pt idx="753">
                  <c:v>-0.13028815086696588</c:v>
                </c:pt>
                <c:pt idx="754">
                  <c:v>-0.14067702898696022</c:v>
                </c:pt>
                <c:pt idx="755">
                  <c:v>-0.13905349452004356</c:v>
                </c:pt>
                <c:pt idx="756">
                  <c:v>-0.13556654749233454</c:v>
                </c:pt>
                <c:pt idx="757">
                  <c:v>-0.11949992431632839</c:v>
                </c:pt>
                <c:pt idx="758">
                  <c:v>-0.106685439213688</c:v>
                </c:pt>
                <c:pt idx="759">
                  <c:v>-9.5753129091537881E-2</c:v>
                </c:pt>
                <c:pt idx="760">
                  <c:v>-8.7134721970436924E-2</c:v>
                </c:pt>
                <c:pt idx="761">
                  <c:v>-9.4348541862833368E-2</c:v>
                </c:pt>
                <c:pt idx="762">
                  <c:v>-8.3777600842385058E-2</c:v>
                </c:pt>
                <c:pt idx="763">
                  <c:v>-7.1324948476586325E-2</c:v>
                </c:pt>
                <c:pt idx="764">
                  <c:v>-7.25850150828663E-2</c:v>
                </c:pt>
                <c:pt idx="765">
                  <c:v>-1.3927140768601687E-2</c:v>
                </c:pt>
                <c:pt idx="766">
                  <c:v>-2.6168997643612468E-2</c:v>
                </c:pt>
                <c:pt idx="767">
                  <c:v>-4.5649602666543609E-2</c:v>
                </c:pt>
                <c:pt idx="768">
                  <c:v>-4.9642111184541315E-2</c:v>
                </c:pt>
                <c:pt idx="769">
                  <c:v>-2.9905047802393336E-2</c:v>
                </c:pt>
                <c:pt idx="770">
                  <c:v>-1.3182128624724898E-2</c:v>
                </c:pt>
                <c:pt idx="771">
                  <c:v>-4.0273287028205096E-2</c:v>
                </c:pt>
                <c:pt idx="772">
                  <c:v>-2.2240472712528381E-2</c:v>
                </c:pt>
                <c:pt idx="773">
                  <c:v>-1.6454945894894046E-2</c:v>
                </c:pt>
                <c:pt idx="774">
                  <c:v>-6.3234004684545875E-3</c:v>
                </c:pt>
                <c:pt idx="775">
                  <c:v>-3.8808012811752945E-4</c:v>
                </c:pt>
                <c:pt idx="776">
                  <c:v>2.3852030248357803E-2</c:v>
                </c:pt>
                <c:pt idx="777">
                  <c:v>4.1835336360642739E-3</c:v>
                </c:pt>
                <c:pt idx="778">
                  <c:v>4.3515653343848548E-3</c:v>
                </c:pt>
                <c:pt idx="779">
                  <c:v>7.0145871457751863E-3</c:v>
                </c:pt>
                <c:pt idx="780">
                  <c:v>2.8504581671594309E-2</c:v>
                </c:pt>
                <c:pt idx="781">
                  <c:v>4.0549887396805984E-2</c:v>
                </c:pt>
                <c:pt idx="782">
                  <c:v>3.2448957700618841E-2</c:v>
                </c:pt>
                <c:pt idx="783">
                  <c:v>4.4906296796090039E-2</c:v>
                </c:pt>
                <c:pt idx="784">
                  <c:v>5.7448117933527776E-2</c:v>
                </c:pt>
                <c:pt idx="785">
                  <c:v>7.4085978044218903E-2</c:v>
                </c:pt>
                <c:pt idx="786">
                  <c:v>8.3635630523252402E-2</c:v>
                </c:pt>
                <c:pt idx="787">
                  <c:v>7.9272125382692016E-2</c:v>
                </c:pt>
                <c:pt idx="788">
                  <c:v>4.7678551418432358E-2</c:v>
                </c:pt>
                <c:pt idx="789">
                  <c:v>5.6407298122433946E-2</c:v>
                </c:pt>
                <c:pt idx="790">
                  <c:v>5.6884028745999959E-2</c:v>
                </c:pt>
                <c:pt idx="791">
                  <c:v>5.7702555348868145E-2</c:v>
                </c:pt>
                <c:pt idx="792">
                  <c:v>3.9862738576979195E-2</c:v>
                </c:pt>
                <c:pt idx="793">
                  <c:v>2.3711842002570149E-2</c:v>
                </c:pt>
                <c:pt idx="794">
                  <c:v>3.1295654052232003E-2</c:v>
                </c:pt>
                <c:pt idx="795">
                  <c:v>2.5591097988303613E-2</c:v>
                </c:pt>
                <c:pt idx="796">
                  <c:v>1.2578481175615996E-2</c:v>
                </c:pt>
                <c:pt idx="797">
                  <c:v>-2.6099620946099522E-3</c:v>
                </c:pt>
                <c:pt idx="798">
                  <c:v>-1.7832997258568239E-2</c:v>
                </c:pt>
                <c:pt idx="799">
                  <c:v>-2.5537372270716396E-3</c:v>
                </c:pt>
                <c:pt idx="800">
                  <c:v>-1.3198452348381906E-3</c:v>
                </c:pt>
                <c:pt idx="801">
                  <c:v>5.0340878784687071E-3</c:v>
                </c:pt>
                <c:pt idx="802">
                  <c:v>4.9068362311572855E-3</c:v>
                </c:pt>
                <c:pt idx="803">
                  <c:v>-2.7859868100365004E-3</c:v>
                </c:pt>
                <c:pt idx="804">
                  <c:v>-1.4986974890769056E-2</c:v>
                </c:pt>
                <c:pt idx="805">
                  <c:v>-1.5424614840647943E-2</c:v>
                </c:pt>
                <c:pt idx="806">
                  <c:v>-2.9003602201668865E-2</c:v>
                </c:pt>
                <c:pt idx="807">
                  <c:v>-2.4770455265369584E-2</c:v>
                </c:pt>
                <c:pt idx="808">
                  <c:v>-2.4166425018873228E-2</c:v>
                </c:pt>
                <c:pt idx="809">
                  <c:v>-1.2925880459172645E-2</c:v>
                </c:pt>
                <c:pt idx="810">
                  <c:v>2.9902304124045376E-3</c:v>
                </c:pt>
                <c:pt idx="811">
                  <c:v>-2.668096531284192E-3</c:v>
                </c:pt>
                <c:pt idx="812">
                  <c:v>-3.324678464535169E-2</c:v>
                </c:pt>
                <c:pt idx="813">
                  <c:v>-3.7454254162426093E-2</c:v>
                </c:pt>
                <c:pt idx="814">
                  <c:v>-2.969355980408761E-2</c:v>
                </c:pt>
                <c:pt idx="815">
                  <c:v>-2.6663244560869437E-2</c:v>
                </c:pt>
                <c:pt idx="816">
                  <c:v>-1.217411863401574E-2</c:v>
                </c:pt>
                <c:pt idx="817">
                  <c:v>3.5368565522035933E-3</c:v>
                </c:pt>
                <c:pt idx="818">
                  <c:v>2.5621907326142113E-2</c:v>
                </c:pt>
                <c:pt idx="819">
                  <c:v>2.0940367700954976E-2</c:v>
                </c:pt>
                <c:pt idx="820">
                  <c:v>-1.2670089650851368E-2</c:v>
                </c:pt>
                <c:pt idx="821">
                  <c:v>-1.5437217624923227E-2</c:v>
                </c:pt>
                <c:pt idx="822">
                  <c:v>-2.9896269581729529E-3</c:v>
                </c:pt>
                <c:pt idx="823">
                  <c:v>-2.1876789542894848E-2</c:v>
                </c:pt>
                <c:pt idx="824">
                  <c:v>-2.7317258426675761E-2</c:v>
                </c:pt>
                <c:pt idx="825">
                  <c:v>-2.9645389492655938E-2</c:v>
                </c:pt>
                <c:pt idx="826">
                  <c:v>4.573453578784914E-3</c:v>
                </c:pt>
                <c:pt idx="827">
                  <c:v>-1.0457258257714819E-2</c:v>
                </c:pt>
                <c:pt idx="828">
                  <c:v>-7.3587654749449616E-3</c:v>
                </c:pt>
                <c:pt idx="829">
                  <c:v>3.8329434700727916E-2</c:v>
                </c:pt>
                <c:pt idx="830">
                  <c:v>5.7887680473390102E-2</c:v>
                </c:pt>
                <c:pt idx="831">
                  <c:v>8.7885237127054205E-2</c:v>
                </c:pt>
                <c:pt idx="832">
                  <c:v>0.12115105313458829</c:v>
                </c:pt>
                <c:pt idx="833">
                  <c:v>0.11603274804887032</c:v>
                </c:pt>
                <c:pt idx="834">
                  <c:v>0.12325222549905068</c:v>
                </c:pt>
                <c:pt idx="835">
                  <c:v>0.10214163852006775</c:v>
                </c:pt>
                <c:pt idx="836">
                  <c:v>0.11818672467350577</c:v>
                </c:pt>
                <c:pt idx="837">
                  <c:v>0.11942470373892977</c:v>
                </c:pt>
                <c:pt idx="838">
                  <c:v>8.6566858055026508E-2</c:v>
                </c:pt>
                <c:pt idx="839">
                  <c:v>6.8505579626469082E-2</c:v>
                </c:pt>
                <c:pt idx="840">
                  <c:v>6.0491519902481361E-2</c:v>
                </c:pt>
                <c:pt idx="841">
                  <c:v>7.7797071580632204E-2</c:v>
                </c:pt>
                <c:pt idx="842">
                  <c:v>5.963272873461456E-2</c:v>
                </c:pt>
                <c:pt idx="843">
                  <c:v>6.7936434940295776E-2</c:v>
                </c:pt>
                <c:pt idx="844">
                  <c:v>9.0679311820364594E-2</c:v>
                </c:pt>
                <c:pt idx="845">
                  <c:v>0.12162029289619181</c:v>
                </c:pt>
                <c:pt idx="846">
                  <c:v>8.0250540849535756E-2</c:v>
                </c:pt>
                <c:pt idx="847">
                  <c:v>8.1706188862574081E-2</c:v>
                </c:pt>
                <c:pt idx="848">
                  <c:v>3.8766484449739513E-2</c:v>
                </c:pt>
                <c:pt idx="849">
                  <c:v>4.2696228225057808E-2</c:v>
                </c:pt>
                <c:pt idx="850">
                  <c:v>4.9795163871616754E-2</c:v>
                </c:pt>
                <c:pt idx="851">
                  <c:v>4.8097255802358019E-2</c:v>
                </c:pt>
                <c:pt idx="852">
                  <c:v>9.1704513281148481E-2</c:v>
                </c:pt>
                <c:pt idx="853">
                  <c:v>0.10871213024380855</c:v>
                </c:pt>
                <c:pt idx="854">
                  <c:v>0.1380702900168802</c:v>
                </c:pt>
                <c:pt idx="855">
                  <c:v>0.10815704659920811</c:v>
                </c:pt>
                <c:pt idx="856">
                  <c:v>0.10180153540581438</c:v>
                </c:pt>
                <c:pt idx="857">
                  <c:v>0.11031831861809893</c:v>
                </c:pt>
                <c:pt idx="858">
                  <c:v>0.14363185974812387</c:v>
                </c:pt>
                <c:pt idx="859">
                  <c:v>0.10785597285215665</c:v>
                </c:pt>
                <c:pt idx="860">
                  <c:v>9.3990900133441802E-2</c:v>
                </c:pt>
                <c:pt idx="861">
                  <c:v>0.11797920795586281</c:v>
                </c:pt>
                <c:pt idx="862">
                  <c:v>0.12933486338613287</c:v>
                </c:pt>
                <c:pt idx="863">
                  <c:v>0.1571223991343631</c:v>
                </c:pt>
                <c:pt idx="864">
                  <c:v>0.18226128002516284</c:v>
                </c:pt>
                <c:pt idx="865">
                  <c:v>0.1757094528322567</c:v>
                </c:pt>
                <c:pt idx="866">
                  <c:v>0.15662210449895975</c:v>
                </c:pt>
                <c:pt idx="867">
                  <c:v>0.14687563719798691</c:v>
                </c:pt>
                <c:pt idx="868">
                  <c:v>0.15455010045815709</c:v>
                </c:pt>
                <c:pt idx="869">
                  <c:v>0.13789040617058035</c:v>
                </c:pt>
                <c:pt idx="870">
                  <c:v>0.13653752162293831</c:v>
                </c:pt>
                <c:pt idx="871">
                  <c:v>0.15593261115172097</c:v>
                </c:pt>
                <c:pt idx="872">
                  <c:v>0.1607966448378908</c:v>
                </c:pt>
                <c:pt idx="873">
                  <c:v>0.18026172986440558</c:v>
                </c:pt>
                <c:pt idx="874">
                  <c:v>0.22788471931589238</c:v>
                </c:pt>
                <c:pt idx="875">
                  <c:v>0.30163058013993993</c:v>
                </c:pt>
                <c:pt idx="876">
                  <c:v>0.28960238799223914</c:v>
                </c:pt>
                <c:pt idx="877">
                  <c:v>0.27822067536805584</c:v>
                </c:pt>
                <c:pt idx="878">
                  <c:v>0.28784362203676128</c:v>
                </c:pt>
                <c:pt idx="879">
                  <c:v>0.28601516293070572</c:v>
                </c:pt>
                <c:pt idx="880">
                  <c:v>0.25513071651005492</c:v>
                </c:pt>
                <c:pt idx="881">
                  <c:v>0.2390621045547634</c:v>
                </c:pt>
                <c:pt idx="882">
                  <c:v>0.2396742029207477</c:v>
                </c:pt>
                <c:pt idx="883">
                  <c:v>0.21881708578420533</c:v>
                </c:pt>
                <c:pt idx="884">
                  <c:v>0.21990865488688383</c:v>
                </c:pt>
                <c:pt idx="885">
                  <c:v>0.20597901109306482</c:v>
                </c:pt>
                <c:pt idx="886">
                  <c:v>0.20682390010468721</c:v>
                </c:pt>
                <c:pt idx="887">
                  <c:v>0.18342793693911164</c:v>
                </c:pt>
                <c:pt idx="888">
                  <c:v>0.15561074636809558</c:v>
                </c:pt>
                <c:pt idx="889">
                  <c:v>9.4203293158080736E-2</c:v>
                </c:pt>
                <c:pt idx="890">
                  <c:v>8.5038791349229426E-2</c:v>
                </c:pt>
                <c:pt idx="891">
                  <c:v>0.1006983814700344</c:v>
                </c:pt>
                <c:pt idx="892">
                  <c:v>0.10970234500019349</c:v>
                </c:pt>
                <c:pt idx="893">
                  <c:v>0.10820258685466611</c:v>
                </c:pt>
                <c:pt idx="894">
                  <c:v>6.6748139317167388E-2</c:v>
                </c:pt>
                <c:pt idx="895">
                  <c:v>5.6385981834214727E-2</c:v>
                </c:pt>
                <c:pt idx="896">
                  <c:v>9.0400239273555227E-2</c:v>
                </c:pt>
                <c:pt idx="897">
                  <c:v>0.10721825124296847</c:v>
                </c:pt>
                <c:pt idx="898">
                  <c:v>4.0992660892903876E-2</c:v>
                </c:pt>
                <c:pt idx="899">
                  <c:v>2.8167480792508748E-2</c:v>
                </c:pt>
                <c:pt idx="900">
                  <c:v>4.3982252276266065E-2</c:v>
                </c:pt>
                <c:pt idx="901">
                  <c:v>4.1743225885257917E-2</c:v>
                </c:pt>
                <c:pt idx="902">
                  <c:v>1.2931643966346273E-2</c:v>
                </c:pt>
                <c:pt idx="903">
                  <c:v>7.3548807674126415E-3</c:v>
                </c:pt>
                <c:pt idx="904">
                  <c:v>1.1987359780792239E-2</c:v>
                </c:pt>
                <c:pt idx="905">
                  <c:v>2.5298972120431307E-2</c:v>
                </c:pt>
                <c:pt idx="906">
                  <c:v>4.1505491270725114E-2</c:v>
                </c:pt>
                <c:pt idx="907">
                  <c:v>7.3313031301883713E-2</c:v>
                </c:pt>
                <c:pt idx="908">
                  <c:v>1.7709349440546696E-3</c:v>
                </c:pt>
                <c:pt idx="909">
                  <c:v>-2.1340483121455422E-2</c:v>
                </c:pt>
                <c:pt idx="910">
                  <c:v>-1.3154139617730154E-2</c:v>
                </c:pt>
                <c:pt idx="911">
                  <c:v>4.8696369129226369E-3</c:v>
                </c:pt>
                <c:pt idx="912">
                  <c:v>8.2023965797966003E-3</c:v>
                </c:pt>
                <c:pt idx="913">
                  <c:v>-2.0055616840510715E-2</c:v>
                </c:pt>
                <c:pt idx="914">
                  <c:v>-9.2083245061552632E-2</c:v>
                </c:pt>
                <c:pt idx="915">
                  <c:v>-9.7583450333646793E-2</c:v>
                </c:pt>
                <c:pt idx="916">
                  <c:v>-0.11267617511395278</c:v>
                </c:pt>
                <c:pt idx="917">
                  <c:v>-8.9458010289102941E-2</c:v>
                </c:pt>
                <c:pt idx="918">
                  <c:v>-0.10131828978622237</c:v>
                </c:pt>
                <c:pt idx="919">
                  <c:v>-0.12051213469259503</c:v>
                </c:pt>
                <c:pt idx="920">
                  <c:v>-9.928024248536238E-2</c:v>
                </c:pt>
                <c:pt idx="921">
                  <c:v>-7.9979400400870593E-2</c:v>
                </c:pt>
                <c:pt idx="922">
                  <c:v>-5.8280636365967808E-2</c:v>
                </c:pt>
                <c:pt idx="923">
                  <c:v>-5.1127964151128635E-2</c:v>
                </c:pt>
                <c:pt idx="924">
                  <c:v>-3.3227463491832143E-2</c:v>
                </c:pt>
                <c:pt idx="925">
                  <c:v>-1.8438959860682336E-2</c:v>
                </c:pt>
                <c:pt idx="926">
                  <c:v>1.1148395099295438E-2</c:v>
                </c:pt>
                <c:pt idx="927">
                  <c:v>1.2637504672585953E-2</c:v>
                </c:pt>
                <c:pt idx="928">
                  <c:v>1.0539197126858024E-2</c:v>
                </c:pt>
                <c:pt idx="929">
                  <c:v>2.6066514668953156E-2</c:v>
                </c:pt>
                <c:pt idx="930">
                  <c:v>3.2691435390987067E-2</c:v>
                </c:pt>
                <c:pt idx="931">
                  <c:v>4.6535194611664554E-2</c:v>
                </c:pt>
                <c:pt idx="932">
                  <c:v>1.9971526198990341E-2</c:v>
                </c:pt>
                <c:pt idx="933">
                  <c:v>-1.0388421150286931E-2</c:v>
                </c:pt>
                <c:pt idx="934">
                  <c:v>-6.9434451160075294E-3</c:v>
                </c:pt>
                <c:pt idx="935">
                  <c:v>-1.2753144050002829E-3</c:v>
                </c:pt>
                <c:pt idx="936">
                  <c:v>2.8114498503271079E-3</c:v>
                </c:pt>
                <c:pt idx="937">
                  <c:v>2.6209270579158339E-2</c:v>
                </c:pt>
                <c:pt idx="938">
                  <c:v>2.998869434004825E-2</c:v>
                </c:pt>
                <c:pt idx="939">
                  <c:v>2.2870659514399483E-2</c:v>
                </c:pt>
                <c:pt idx="940">
                  <c:v>2.0520045166837253E-2</c:v>
                </c:pt>
                <c:pt idx="941">
                  <c:v>2.0423234475916319E-2</c:v>
                </c:pt>
                <c:pt idx="942">
                  <c:v>2.2771815478795698E-2</c:v>
                </c:pt>
                <c:pt idx="943">
                  <c:v>2.9257656509606544E-2</c:v>
                </c:pt>
                <c:pt idx="944">
                  <c:v>1.8416770323197662E-2</c:v>
                </c:pt>
                <c:pt idx="945">
                  <c:v>5.3526070796054981E-3</c:v>
                </c:pt>
                <c:pt idx="946">
                  <c:v>-8.52471724805548E-3</c:v>
                </c:pt>
                <c:pt idx="947">
                  <c:v>-3.5389002980610318E-2</c:v>
                </c:pt>
                <c:pt idx="948">
                  <c:v>-1.829709866864071E-2</c:v>
                </c:pt>
                <c:pt idx="949">
                  <c:v>-5.419534850410801E-3</c:v>
                </c:pt>
                <c:pt idx="950">
                  <c:v>-9.0236620557015979E-4</c:v>
                </c:pt>
                <c:pt idx="951">
                  <c:v>-1.1933309239599454E-2</c:v>
                </c:pt>
                <c:pt idx="952">
                  <c:v>4.8040101416904069E-3</c:v>
                </c:pt>
                <c:pt idx="953">
                  <c:v>1.2202566083315602E-2</c:v>
                </c:pt>
                <c:pt idx="954">
                  <c:v>1.672961212526114E-2</c:v>
                </c:pt>
                <c:pt idx="955">
                  <c:v>4.1536552112412473E-2</c:v>
                </c:pt>
                <c:pt idx="956">
                  <c:v>3.2363863058828768E-2</c:v>
                </c:pt>
                <c:pt idx="957">
                  <c:v>-2.0141204569355309E-2</c:v>
                </c:pt>
                <c:pt idx="958">
                  <c:v>-2.1736389553343116E-2</c:v>
                </c:pt>
                <c:pt idx="959">
                  <c:v>2.9284840084249364E-3</c:v>
                </c:pt>
                <c:pt idx="960">
                  <c:v>-7.3298452449077622E-4</c:v>
                </c:pt>
                <c:pt idx="961">
                  <c:v>5.8875997131389024E-3</c:v>
                </c:pt>
                <c:pt idx="962">
                  <c:v>2.2365555381342217E-2</c:v>
                </c:pt>
                <c:pt idx="963">
                  <c:v>9.0326768217392495E-3</c:v>
                </c:pt>
                <c:pt idx="964">
                  <c:v>2.1653361505898694E-2</c:v>
                </c:pt>
                <c:pt idx="965">
                  <c:v>4.1959619719979635E-2</c:v>
                </c:pt>
                <c:pt idx="966">
                  <c:v>4.8064264232657861E-2</c:v>
                </c:pt>
                <c:pt idx="967">
                  <c:v>4.9798648885668095E-2</c:v>
                </c:pt>
                <c:pt idx="968">
                  <c:v>5.176246069816437E-2</c:v>
                </c:pt>
                <c:pt idx="969">
                  <c:v>5.2149736013964443E-2</c:v>
                </c:pt>
                <c:pt idx="970">
                  <c:v>5.2206330115505795E-2</c:v>
                </c:pt>
                <c:pt idx="971">
                  <c:v>4.1207862002589524E-2</c:v>
                </c:pt>
                <c:pt idx="972">
                  <c:v>4.5418762047674255E-2</c:v>
                </c:pt>
                <c:pt idx="973">
                  <c:v>3.7745580100799314E-2</c:v>
                </c:pt>
                <c:pt idx="974">
                  <c:v>2.6437741326470032E-2</c:v>
                </c:pt>
                <c:pt idx="975">
                  <c:v>4.1918532749018134E-2</c:v>
                </c:pt>
                <c:pt idx="976">
                  <c:v>4.1166253732739966E-2</c:v>
                </c:pt>
                <c:pt idx="977">
                  <c:v>3.3005892243040735E-2</c:v>
                </c:pt>
                <c:pt idx="978">
                  <c:v>2.9779547768952197E-2</c:v>
                </c:pt>
                <c:pt idx="979">
                  <c:v>8.2116560292297969E-3</c:v>
                </c:pt>
                <c:pt idx="980">
                  <c:v>8.6026297304524491E-3</c:v>
                </c:pt>
                <c:pt idx="981">
                  <c:v>4.9200675037883723E-3</c:v>
                </c:pt>
                <c:pt idx="982">
                  <c:v>6.7817227153397219E-3</c:v>
                </c:pt>
                <c:pt idx="983">
                  <c:v>-1.5814476809561384E-4</c:v>
                </c:pt>
                <c:pt idx="984">
                  <c:v>-7.1382672834103822E-3</c:v>
                </c:pt>
                <c:pt idx="985">
                  <c:v>1.0740717589698745E-2</c:v>
                </c:pt>
                <c:pt idx="986">
                  <c:v>6.5014376797101203E-3</c:v>
                </c:pt>
                <c:pt idx="987">
                  <c:v>-3.3657957244653813E-3</c:v>
                </c:pt>
                <c:pt idx="988">
                  <c:v>-1.223777972246487E-3</c:v>
                </c:pt>
                <c:pt idx="989">
                  <c:v>5.5076884610576471E-3</c:v>
                </c:pt>
                <c:pt idx="990">
                  <c:v>-5.5279409926238809E-3</c:v>
                </c:pt>
                <c:pt idx="991">
                  <c:v>-1.4143392924115372E-2</c:v>
                </c:pt>
                <c:pt idx="992">
                  <c:v>-2.0727090886360711E-2</c:v>
                </c:pt>
                <c:pt idx="993">
                  <c:v>-4.41688961120138E-2</c:v>
                </c:pt>
                <c:pt idx="994">
                  <c:v>-5.9576447055881832E-2</c:v>
                </c:pt>
                <c:pt idx="995">
                  <c:v>-7.2223027878484558E-2</c:v>
                </c:pt>
                <c:pt idx="996">
                  <c:v>-7.115514439304893E-2</c:v>
                </c:pt>
                <c:pt idx="997">
                  <c:v>-7.379547443430412E-2</c:v>
                </c:pt>
                <c:pt idx="998">
                  <c:v>-7.3956994624328032E-2</c:v>
                </c:pt>
                <c:pt idx="999">
                  <c:v>-9.2380547568446048E-2</c:v>
                </c:pt>
                <c:pt idx="1000">
                  <c:v>-8.6965745718214804E-2</c:v>
                </c:pt>
                <c:pt idx="1001">
                  <c:v>-9.7499187398424891E-2</c:v>
                </c:pt>
                <c:pt idx="1002">
                  <c:v>-8.224528066008252E-2</c:v>
                </c:pt>
                <c:pt idx="1003">
                  <c:v>-8.6324290536317072E-2</c:v>
                </c:pt>
                <c:pt idx="1004">
                  <c:v>-8.26504563070386E-2</c:v>
                </c:pt>
                <c:pt idx="1005">
                  <c:v>-8.1833604200525101E-2</c:v>
                </c:pt>
                <c:pt idx="1006">
                  <c:v>-6.6125640705088196E-2</c:v>
                </c:pt>
                <c:pt idx="1007">
                  <c:v>-5.7411426428303547E-2</c:v>
                </c:pt>
                <c:pt idx="1008">
                  <c:v>-5.4692711588948617E-2</c:v>
                </c:pt>
                <c:pt idx="1009">
                  <c:v>-6.7043005375672093E-2</c:v>
                </c:pt>
                <c:pt idx="1010">
                  <c:v>-8.2454431803975492E-2</c:v>
                </c:pt>
                <c:pt idx="1011">
                  <c:v>-8.32657832229029E-2</c:v>
                </c:pt>
                <c:pt idx="1012">
                  <c:v>-5.5104513064133109E-2</c:v>
                </c:pt>
                <c:pt idx="1013">
                  <c:v>-4.0894611826478355E-2</c:v>
                </c:pt>
                <c:pt idx="1014">
                  <c:v>-3.2910613826728441E-2</c:v>
                </c:pt>
                <c:pt idx="1015">
                  <c:v>-3.9236154519314947E-2</c:v>
                </c:pt>
                <c:pt idx="1016">
                  <c:v>-3.5051756469558604E-2</c:v>
                </c:pt>
                <c:pt idx="1017">
                  <c:v>-2.5181897737217018E-2</c:v>
                </c:pt>
                <c:pt idx="1018">
                  <c:v>-2.5476184523065326E-2</c:v>
                </c:pt>
                <c:pt idx="1019">
                  <c:v>-2.0793974246780755E-2</c:v>
                </c:pt>
                <c:pt idx="1020">
                  <c:v>0</c:v>
                </c:pt>
              </c:numCache>
            </c:numRef>
          </c:val>
          <c:smooth val="0"/>
          <c:extLst>
            <c:ext xmlns:c16="http://schemas.microsoft.com/office/drawing/2014/chart" uri="{C3380CC4-5D6E-409C-BE32-E72D297353CC}">
              <c16:uniqueId val="{00000002-1D55-4091-B462-1B341D70D85C}"/>
            </c:ext>
          </c:extLst>
        </c:ser>
        <c:ser>
          <c:idx val="3"/>
          <c:order val="3"/>
          <c:tx>
            <c:strRef>
              <c:f>'Graph '!$T$1</c:f>
              <c:strCache>
                <c:ptCount val="1"/>
                <c:pt idx="0">
                  <c:v>Benchmark return ZMW</c:v>
                </c:pt>
              </c:strCache>
            </c:strRef>
          </c:tx>
          <c:spPr>
            <a:ln w="12700" cap="rnd">
              <a:solidFill>
                <a:schemeClr val="bg1">
                  <a:lumMod val="65000"/>
                </a:schemeClr>
              </a:solidFill>
              <a:prstDash val="solid"/>
              <a:round/>
            </a:ln>
            <a:effectLst/>
          </c:spPr>
          <c:marker>
            <c:symbol val="none"/>
          </c:marker>
          <c:cat>
            <c:numRef>
              <c:f>'Graph '!$P$2:$P$1022</c:f>
              <c:numCache>
                <c:formatCode>m/d/yyyy</c:formatCode>
                <c:ptCount val="1021"/>
                <c:pt idx="0">
                  <c:v>45930</c:v>
                </c:pt>
                <c:pt idx="1">
                  <c:v>45929</c:v>
                </c:pt>
                <c:pt idx="2">
                  <c:v>45926</c:v>
                </c:pt>
                <c:pt idx="3">
                  <c:v>45925</c:v>
                </c:pt>
                <c:pt idx="4">
                  <c:v>45924</c:v>
                </c:pt>
                <c:pt idx="5">
                  <c:v>45923</c:v>
                </c:pt>
                <c:pt idx="6">
                  <c:v>45922</c:v>
                </c:pt>
                <c:pt idx="7">
                  <c:v>45919</c:v>
                </c:pt>
                <c:pt idx="8">
                  <c:v>45918</c:v>
                </c:pt>
                <c:pt idx="9">
                  <c:v>45917</c:v>
                </c:pt>
                <c:pt idx="10">
                  <c:v>45916</c:v>
                </c:pt>
                <c:pt idx="11">
                  <c:v>45915</c:v>
                </c:pt>
                <c:pt idx="12">
                  <c:v>45912</c:v>
                </c:pt>
                <c:pt idx="13">
                  <c:v>45911</c:v>
                </c:pt>
                <c:pt idx="14">
                  <c:v>45910</c:v>
                </c:pt>
                <c:pt idx="15">
                  <c:v>45909</c:v>
                </c:pt>
                <c:pt idx="16">
                  <c:v>45908</c:v>
                </c:pt>
                <c:pt idx="17">
                  <c:v>45905</c:v>
                </c:pt>
                <c:pt idx="18">
                  <c:v>45904</c:v>
                </c:pt>
                <c:pt idx="19">
                  <c:v>45903</c:v>
                </c:pt>
                <c:pt idx="20">
                  <c:v>45902</c:v>
                </c:pt>
                <c:pt idx="21">
                  <c:v>45898</c:v>
                </c:pt>
                <c:pt idx="22">
                  <c:v>45897</c:v>
                </c:pt>
                <c:pt idx="23">
                  <c:v>45896</c:v>
                </c:pt>
                <c:pt idx="24">
                  <c:v>45895</c:v>
                </c:pt>
                <c:pt idx="25">
                  <c:v>45894</c:v>
                </c:pt>
                <c:pt idx="26">
                  <c:v>45891</c:v>
                </c:pt>
                <c:pt idx="27">
                  <c:v>45890</c:v>
                </c:pt>
                <c:pt idx="28">
                  <c:v>45889</c:v>
                </c:pt>
                <c:pt idx="29">
                  <c:v>45888</c:v>
                </c:pt>
                <c:pt idx="30">
                  <c:v>45887</c:v>
                </c:pt>
                <c:pt idx="31">
                  <c:v>45884</c:v>
                </c:pt>
                <c:pt idx="32">
                  <c:v>45883</c:v>
                </c:pt>
                <c:pt idx="33">
                  <c:v>45882</c:v>
                </c:pt>
                <c:pt idx="34">
                  <c:v>45881</c:v>
                </c:pt>
                <c:pt idx="35">
                  <c:v>45880</c:v>
                </c:pt>
                <c:pt idx="36">
                  <c:v>45877</c:v>
                </c:pt>
                <c:pt idx="37">
                  <c:v>45876</c:v>
                </c:pt>
                <c:pt idx="38">
                  <c:v>45875</c:v>
                </c:pt>
                <c:pt idx="39">
                  <c:v>45874</c:v>
                </c:pt>
                <c:pt idx="40">
                  <c:v>45873</c:v>
                </c:pt>
                <c:pt idx="41">
                  <c:v>45870</c:v>
                </c:pt>
                <c:pt idx="42">
                  <c:v>45869</c:v>
                </c:pt>
                <c:pt idx="43">
                  <c:v>45868</c:v>
                </c:pt>
                <c:pt idx="44">
                  <c:v>45867</c:v>
                </c:pt>
                <c:pt idx="45">
                  <c:v>45866</c:v>
                </c:pt>
                <c:pt idx="46">
                  <c:v>45863</c:v>
                </c:pt>
                <c:pt idx="47">
                  <c:v>45862</c:v>
                </c:pt>
                <c:pt idx="48">
                  <c:v>45861</c:v>
                </c:pt>
                <c:pt idx="49">
                  <c:v>45860</c:v>
                </c:pt>
                <c:pt idx="50">
                  <c:v>45859</c:v>
                </c:pt>
                <c:pt idx="51">
                  <c:v>45856</c:v>
                </c:pt>
                <c:pt idx="52">
                  <c:v>45855</c:v>
                </c:pt>
                <c:pt idx="53">
                  <c:v>45854</c:v>
                </c:pt>
                <c:pt idx="54">
                  <c:v>45853</c:v>
                </c:pt>
                <c:pt idx="55">
                  <c:v>45852</c:v>
                </c:pt>
                <c:pt idx="56">
                  <c:v>45849</c:v>
                </c:pt>
                <c:pt idx="57">
                  <c:v>45848</c:v>
                </c:pt>
                <c:pt idx="58">
                  <c:v>45847</c:v>
                </c:pt>
                <c:pt idx="59">
                  <c:v>45846</c:v>
                </c:pt>
                <c:pt idx="60">
                  <c:v>45845</c:v>
                </c:pt>
                <c:pt idx="61">
                  <c:v>45841</c:v>
                </c:pt>
                <c:pt idx="62">
                  <c:v>45840</c:v>
                </c:pt>
                <c:pt idx="63">
                  <c:v>45839</c:v>
                </c:pt>
                <c:pt idx="64">
                  <c:v>45838</c:v>
                </c:pt>
                <c:pt idx="65">
                  <c:v>45835</c:v>
                </c:pt>
                <c:pt idx="66">
                  <c:v>45834</c:v>
                </c:pt>
                <c:pt idx="67">
                  <c:v>45833</c:v>
                </c:pt>
                <c:pt idx="68">
                  <c:v>45832</c:v>
                </c:pt>
                <c:pt idx="69">
                  <c:v>45831</c:v>
                </c:pt>
                <c:pt idx="70">
                  <c:v>45828</c:v>
                </c:pt>
                <c:pt idx="71">
                  <c:v>45826</c:v>
                </c:pt>
                <c:pt idx="72">
                  <c:v>45825</c:v>
                </c:pt>
                <c:pt idx="73">
                  <c:v>45824</c:v>
                </c:pt>
                <c:pt idx="74">
                  <c:v>45821</c:v>
                </c:pt>
                <c:pt idx="75">
                  <c:v>45820</c:v>
                </c:pt>
                <c:pt idx="76">
                  <c:v>45819</c:v>
                </c:pt>
                <c:pt idx="77">
                  <c:v>45818</c:v>
                </c:pt>
                <c:pt idx="78">
                  <c:v>45817</c:v>
                </c:pt>
                <c:pt idx="79">
                  <c:v>45814</c:v>
                </c:pt>
                <c:pt idx="80">
                  <c:v>45813</c:v>
                </c:pt>
                <c:pt idx="81">
                  <c:v>45812</c:v>
                </c:pt>
                <c:pt idx="82">
                  <c:v>45811</c:v>
                </c:pt>
                <c:pt idx="83">
                  <c:v>45810</c:v>
                </c:pt>
                <c:pt idx="84">
                  <c:v>45807</c:v>
                </c:pt>
                <c:pt idx="85">
                  <c:v>45806</c:v>
                </c:pt>
                <c:pt idx="86">
                  <c:v>45805</c:v>
                </c:pt>
                <c:pt idx="87">
                  <c:v>45804</c:v>
                </c:pt>
                <c:pt idx="88">
                  <c:v>45800</c:v>
                </c:pt>
                <c:pt idx="89">
                  <c:v>45799</c:v>
                </c:pt>
                <c:pt idx="90">
                  <c:v>45798</c:v>
                </c:pt>
                <c:pt idx="91">
                  <c:v>45797</c:v>
                </c:pt>
                <c:pt idx="92">
                  <c:v>45796</c:v>
                </c:pt>
                <c:pt idx="93">
                  <c:v>45793</c:v>
                </c:pt>
                <c:pt idx="94">
                  <c:v>45792</c:v>
                </c:pt>
                <c:pt idx="95">
                  <c:v>45791</c:v>
                </c:pt>
                <c:pt idx="96">
                  <c:v>45790</c:v>
                </c:pt>
                <c:pt idx="97">
                  <c:v>45789</c:v>
                </c:pt>
                <c:pt idx="98">
                  <c:v>45786</c:v>
                </c:pt>
                <c:pt idx="99">
                  <c:v>45785</c:v>
                </c:pt>
                <c:pt idx="100">
                  <c:v>45784</c:v>
                </c:pt>
                <c:pt idx="101">
                  <c:v>45783</c:v>
                </c:pt>
                <c:pt idx="102">
                  <c:v>45782</c:v>
                </c:pt>
                <c:pt idx="103">
                  <c:v>45779</c:v>
                </c:pt>
                <c:pt idx="104">
                  <c:v>45778</c:v>
                </c:pt>
                <c:pt idx="105">
                  <c:v>45777</c:v>
                </c:pt>
                <c:pt idx="106">
                  <c:v>45776</c:v>
                </c:pt>
                <c:pt idx="107">
                  <c:v>45775</c:v>
                </c:pt>
                <c:pt idx="108">
                  <c:v>45772</c:v>
                </c:pt>
                <c:pt idx="109">
                  <c:v>45771</c:v>
                </c:pt>
                <c:pt idx="110">
                  <c:v>45770</c:v>
                </c:pt>
                <c:pt idx="111">
                  <c:v>45769</c:v>
                </c:pt>
                <c:pt idx="112">
                  <c:v>45768</c:v>
                </c:pt>
                <c:pt idx="113">
                  <c:v>45764</c:v>
                </c:pt>
                <c:pt idx="114">
                  <c:v>45763</c:v>
                </c:pt>
                <c:pt idx="115">
                  <c:v>45762</c:v>
                </c:pt>
                <c:pt idx="116">
                  <c:v>45761</c:v>
                </c:pt>
                <c:pt idx="117">
                  <c:v>45758</c:v>
                </c:pt>
                <c:pt idx="118">
                  <c:v>45757</c:v>
                </c:pt>
                <c:pt idx="119">
                  <c:v>45756</c:v>
                </c:pt>
                <c:pt idx="120">
                  <c:v>45755</c:v>
                </c:pt>
                <c:pt idx="121">
                  <c:v>45754</c:v>
                </c:pt>
                <c:pt idx="122">
                  <c:v>45751</c:v>
                </c:pt>
                <c:pt idx="123">
                  <c:v>45750</c:v>
                </c:pt>
                <c:pt idx="124">
                  <c:v>45749</c:v>
                </c:pt>
                <c:pt idx="125">
                  <c:v>45748</c:v>
                </c:pt>
                <c:pt idx="126">
                  <c:v>45747</c:v>
                </c:pt>
                <c:pt idx="127">
                  <c:v>45744</c:v>
                </c:pt>
                <c:pt idx="128">
                  <c:v>45743</c:v>
                </c:pt>
                <c:pt idx="129">
                  <c:v>45742</c:v>
                </c:pt>
                <c:pt idx="130">
                  <c:v>45741</c:v>
                </c:pt>
                <c:pt idx="131">
                  <c:v>45740</c:v>
                </c:pt>
                <c:pt idx="132">
                  <c:v>45737</c:v>
                </c:pt>
                <c:pt idx="133">
                  <c:v>45736</c:v>
                </c:pt>
                <c:pt idx="134">
                  <c:v>45735</c:v>
                </c:pt>
                <c:pt idx="135">
                  <c:v>45734</c:v>
                </c:pt>
                <c:pt idx="136">
                  <c:v>45733</c:v>
                </c:pt>
                <c:pt idx="137">
                  <c:v>45730</c:v>
                </c:pt>
                <c:pt idx="138">
                  <c:v>45729</c:v>
                </c:pt>
                <c:pt idx="139">
                  <c:v>45728</c:v>
                </c:pt>
                <c:pt idx="140">
                  <c:v>45727</c:v>
                </c:pt>
                <c:pt idx="141">
                  <c:v>45726</c:v>
                </c:pt>
                <c:pt idx="142">
                  <c:v>45723</c:v>
                </c:pt>
                <c:pt idx="143">
                  <c:v>45722</c:v>
                </c:pt>
                <c:pt idx="144">
                  <c:v>45721</c:v>
                </c:pt>
                <c:pt idx="145">
                  <c:v>45720</c:v>
                </c:pt>
                <c:pt idx="146">
                  <c:v>45719</c:v>
                </c:pt>
                <c:pt idx="147">
                  <c:v>45716</c:v>
                </c:pt>
                <c:pt idx="148">
                  <c:v>45715</c:v>
                </c:pt>
                <c:pt idx="149">
                  <c:v>45714</c:v>
                </c:pt>
                <c:pt idx="150">
                  <c:v>45713</c:v>
                </c:pt>
                <c:pt idx="151">
                  <c:v>45712</c:v>
                </c:pt>
                <c:pt idx="152">
                  <c:v>45709</c:v>
                </c:pt>
                <c:pt idx="153">
                  <c:v>45708</c:v>
                </c:pt>
                <c:pt idx="154">
                  <c:v>45707</c:v>
                </c:pt>
                <c:pt idx="155">
                  <c:v>45706</c:v>
                </c:pt>
                <c:pt idx="156">
                  <c:v>45702</c:v>
                </c:pt>
                <c:pt idx="157">
                  <c:v>45701</c:v>
                </c:pt>
                <c:pt idx="158">
                  <c:v>45700</c:v>
                </c:pt>
                <c:pt idx="159">
                  <c:v>45699</c:v>
                </c:pt>
                <c:pt idx="160">
                  <c:v>45698</c:v>
                </c:pt>
                <c:pt idx="161">
                  <c:v>45695</c:v>
                </c:pt>
                <c:pt idx="162">
                  <c:v>45694</c:v>
                </c:pt>
                <c:pt idx="163">
                  <c:v>45693</c:v>
                </c:pt>
                <c:pt idx="164">
                  <c:v>45692</c:v>
                </c:pt>
                <c:pt idx="165">
                  <c:v>45691</c:v>
                </c:pt>
                <c:pt idx="166">
                  <c:v>45688</c:v>
                </c:pt>
                <c:pt idx="167">
                  <c:v>45687</c:v>
                </c:pt>
                <c:pt idx="168">
                  <c:v>45686</c:v>
                </c:pt>
                <c:pt idx="169">
                  <c:v>45685</c:v>
                </c:pt>
                <c:pt idx="170">
                  <c:v>45684</c:v>
                </c:pt>
                <c:pt idx="171">
                  <c:v>45681</c:v>
                </c:pt>
                <c:pt idx="172">
                  <c:v>45680</c:v>
                </c:pt>
                <c:pt idx="173">
                  <c:v>45679</c:v>
                </c:pt>
                <c:pt idx="174">
                  <c:v>45678</c:v>
                </c:pt>
                <c:pt idx="175">
                  <c:v>45674</c:v>
                </c:pt>
                <c:pt idx="176">
                  <c:v>45673</c:v>
                </c:pt>
                <c:pt idx="177">
                  <c:v>45672</c:v>
                </c:pt>
                <c:pt idx="178">
                  <c:v>45671</c:v>
                </c:pt>
                <c:pt idx="179">
                  <c:v>45670</c:v>
                </c:pt>
                <c:pt idx="180">
                  <c:v>45667</c:v>
                </c:pt>
                <c:pt idx="181">
                  <c:v>45665</c:v>
                </c:pt>
                <c:pt idx="182">
                  <c:v>45664</c:v>
                </c:pt>
                <c:pt idx="183">
                  <c:v>45663</c:v>
                </c:pt>
                <c:pt idx="184">
                  <c:v>45660</c:v>
                </c:pt>
                <c:pt idx="185">
                  <c:v>45659</c:v>
                </c:pt>
                <c:pt idx="186">
                  <c:v>45657</c:v>
                </c:pt>
                <c:pt idx="187">
                  <c:v>45656</c:v>
                </c:pt>
                <c:pt idx="188">
                  <c:v>45653</c:v>
                </c:pt>
                <c:pt idx="189">
                  <c:v>45652</c:v>
                </c:pt>
                <c:pt idx="190">
                  <c:v>45650</c:v>
                </c:pt>
                <c:pt idx="191">
                  <c:v>45649</c:v>
                </c:pt>
                <c:pt idx="192">
                  <c:v>45646</c:v>
                </c:pt>
                <c:pt idx="193">
                  <c:v>45645</c:v>
                </c:pt>
                <c:pt idx="194">
                  <c:v>45644</c:v>
                </c:pt>
                <c:pt idx="195">
                  <c:v>45643</c:v>
                </c:pt>
                <c:pt idx="196">
                  <c:v>45642</c:v>
                </c:pt>
                <c:pt idx="197">
                  <c:v>45639</c:v>
                </c:pt>
                <c:pt idx="198">
                  <c:v>45638</c:v>
                </c:pt>
                <c:pt idx="199">
                  <c:v>45637</c:v>
                </c:pt>
                <c:pt idx="200">
                  <c:v>45636</c:v>
                </c:pt>
                <c:pt idx="201">
                  <c:v>45635</c:v>
                </c:pt>
                <c:pt idx="202">
                  <c:v>45632</c:v>
                </c:pt>
                <c:pt idx="203">
                  <c:v>45631</c:v>
                </c:pt>
                <c:pt idx="204">
                  <c:v>45630</c:v>
                </c:pt>
                <c:pt idx="205">
                  <c:v>45629</c:v>
                </c:pt>
                <c:pt idx="206">
                  <c:v>45628</c:v>
                </c:pt>
                <c:pt idx="207">
                  <c:v>45625</c:v>
                </c:pt>
                <c:pt idx="208">
                  <c:v>45623</c:v>
                </c:pt>
                <c:pt idx="209">
                  <c:v>45622</c:v>
                </c:pt>
                <c:pt idx="210">
                  <c:v>45621</c:v>
                </c:pt>
                <c:pt idx="211">
                  <c:v>45618</c:v>
                </c:pt>
                <c:pt idx="212">
                  <c:v>45617</c:v>
                </c:pt>
                <c:pt idx="213">
                  <c:v>45616</c:v>
                </c:pt>
                <c:pt idx="214">
                  <c:v>45615</c:v>
                </c:pt>
                <c:pt idx="215">
                  <c:v>45614</c:v>
                </c:pt>
                <c:pt idx="216">
                  <c:v>45611</c:v>
                </c:pt>
                <c:pt idx="217">
                  <c:v>45610</c:v>
                </c:pt>
                <c:pt idx="218">
                  <c:v>45609</c:v>
                </c:pt>
                <c:pt idx="219">
                  <c:v>45608</c:v>
                </c:pt>
                <c:pt idx="220">
                  <c:v>45607</c:v>
                </c:pt>
                <c:pt idx="221">
                  <c:v>45604</c:v>
                </c:pt>
                <c:pt idx="222">
                  <c:v>45603</c:v>
                </c:pt>
                <c:pt idx="223">
                  <c:v>45602</c:v>
                </c:pt>
                <c:pt idx="224">
                  <c:v>45601</c:v>
                </c:pt>
                <c:pt idx="225">
                  <c:v>45600</c:v>
                </c:pt>
                <c:pt idx="226">
                  <c:v>45597</c:v>
                </c:pt>
                <c:pt idx="227">
                  <c:v>45596</c:v>
                </c:pt>
                <c:pt idx="228">
                  <c:v>45595</c:v>
                </c:pt>
                <c:pt idx="229">
                  <c:v>45594</c:v>
                </c:pt>
                <c:pt idx="230">
                  <c:v>45593</c:v>
                </c:pt>
                <c:pt idx="231">
                  <c:v>45590</c:v>
                </c:pt>
                <c:pt idx="232">
                  <c:v>45589</c:v>
                </c:pt>
                <c:pt idx="233">
                  <c:v>45588</c:v>
                </c:pt>
                <c:pt idx="234">
                  <c:v>45587</c:v>
                </c:pt>
                <c:pt idx="235">
                  <c:v>45586</c:v>
                </c:pt>
                <c:pt idx="236">
                  <c:v>45583</c:v>
                </c:pt>
                <c:pt idx="237">
                  <c:v>45582</c:v>
                </c:pt>
                <c:pt idx="238">
                  <c:v>45581</c:v>
                </c:pt>
                <c:pt idx="239">
                  <c:v>45580</c:v>
                </c:pt>
                <c:pt idx="240">
                  <c:v>45579</c:v>
                </c:pt>
                <c:pt idx="241">
                  <c:v>45576</c:v>
                </c:pt>
                <c:pt idx="242">
                  <c:v>45575</c:v>
                </c:pt>
                <c:pt idx="243">
                  <c:v>45574</c:v>
                </c:pt>
                <c:pt idx="244">
                  <c:v>45573</c:v>
                </c:pt>
                <c:pt idx="245">
                  <c:v>45572</c:v>
                </c:pt>
                <c:pt idx="246">
                  <c:v>45569</c:v>
                </c:pt>
                <c:pt idx="247">
                  <c:v>45568</c:v>
                </c:pt>
                <c:pt idx="248">
                  <c:v>45567</c:v>
                </c:pt>
                <c:pt idx="249">
                  <c:v>45566</c:v>
                </c:pt>
                <c:pt idx="250">
                  <c:v>45565</c:v>
                </c:pt>
                <c:pt idx="251">
                  <c:v>45562</c:v>
                </c:pt>
                <c:pt idx="252">
                  <c:v>45561</c:v>
                </c:pt>
                <c:pt idx="253">
                  <c:v>45560</c:v>
                </c:pt>
                <c:pt idx="254">
                  <c:v>45559</c:v>
                </c:pt>
                <c:pt idx="255">
                  <c:v>45558</c:v>
                </c:pt>
                <c:pt idx="256">
                  <c:v>45555</c:v>
                </c:pt>
                <c:pt idx="257">
                  <c:v>45554</c:v>
                </c:pt>
                <c:pt idx="258">
                  <c:v>45553</c:v>
                </c:pt>
                <c:pt idx="259">
                  <c:v>45552</c:v>
                </c:pt>
                <c:pt idx="260">
                  <c:v>45551</c:v>
                </c:pt>
                <c:pt idx="261">
                  <c:v>45548</c:v>
                </c:pt>
                <c:pt idx="262">
                  <c:v>45547</c:v>
                </c:pt>
                <c:pt idx="263">
                  <c:v>45546</c:v>
                </c:pt>
                <c:pt idx="264">
                  <c:v>45545</c:v>
                </c:pt>
                <c:pt idx="265">
                  <c:v>45544</c:v>
                </c:pt>
                <c:pt idx="266">
                  <c:v>45541</c:v>
                </c:pt>
                <c:pt idx="267">
                  <c:v>45540</c:v>
                </c:pt>
                <c:pt idx="268">
                  <c:v>45539</c:v>
                </c:pt>
                <c:pt idx="269">
                  <c:v>45538</c:v>
                </c:pt>
                <c:pt idx="270">
                  <c:v>45534</c:v>
                </c:pt>
                <c:pt idx="271">
                  <c:v>45533</c:v>
                </c:pt>
                <c:pt idx="272">
                  <c:v>45532</c:v>
                </c:pt>
                <c:pt idx="273">
                  <c:v>45531</c:v>
                </c:pt>
                <c:pt idx="274">
                  <c:v>45530</c:v>
                </c:pt>
                <c:pt idx="275">
                  <c:v>45527</c:v>
                </c:pt>
                <c:pt idx="276">
                  <c:v>45526</c:v>
                </c:pt>
                <c:pt idx="277">
                  <c:v>45525</c:v>
                </c:pt>
                <c:pt idx="278">
                  <c:v>45524</c:v>
                </c:pt>
                <c:pt idx="279">
                  <c:v>45523</c:v>
                </c:pt>
                <c:pt idx="280">
                  <c:v>45520</c:v>
                </c:pt>
                <c:pt idx="281">
                  <c:v>45519</c:v>
                </c:pt>
                <c:pt idx="282">
                  <c:v>45518</c:v>
                </c:pt>
                <c:pt idx="283">
                  <c:v>45517</c:v>
                </c:pt>
                <c:pt idx="284">
                  <c:v>45516</c:v>
                </c:pt>
                <c:pt idx="285">
                  <c:v>45513</c:v>
                </c:pt>
                <c:pt idx="286">
                  <c:v>45512</c:v>
                </c:pt>
                <c:pt idx="287">
                  <c:v>45511</c:v>
                </c:pt>
                <c:pt idx="288">
                  <c:v>45510</c:v>
                </c:pt>
                <c:pt idx="289">
                  <c:v>45509</c:v>
                </c:pt>
                <c:pt idx="290">
                  <c:v>45506</c:v>
                </c:pt>
                <c:pt idx="291">
                  <c:v>45505</c:v>
                </c:pt>
                <c:pt idx="292">
                  <c:v>45504</c:v>
                </c:pt>
                <c:pt idx="293">
                  <c:v>45503</c:v>
                </c:pt>
                <c:pt idx="294">
                  <c:v>45502</c:v>
                </c:pt>
                <c:pt idx="295">
                  <c:v>45499</c:v>
                </c:pt>
                <c:pt idx="296">
                  <c:v>45498</c:v>
                </c:pt>
                <c:pt idx="297">
                  <c:v>45497</c:v>
                </c:pt>
                <c:pt idx="298">
                  <c:v>45496</c:v>
                </c:pt>
                <c:pt idx="299">
                  <c:v>45495</c:v>
                </c:pt>
                <c:pt idx="300">
                  <c:v>45492</c:v>
                </c:pt>
                <c:pt idx="301">
                  <c:v>45491</c:v>
                </c:pt>
                <c:pt idx="302">
                  <c:v>45490</c:v>
                </c:pt>
                <c:pt idx="303">
                  <c:v>45489</c:v>
                </c:pt>
                <c:pt idx="304">
                  <c:v>45488</c:v>
                </c:pt>
                <c:pt idx="305">
                  <c:v>45485</c:v>
                </c:pt>
                <c:pt idx="306">
                  <c:v>45484</c:v>
                </c:pt>
                <c:pt idx="307">
                  <c:v>45483</c:v>
                </c:pt>
                <c:pt idx="308">
                  <c:v>45482</c:v>
                </c:pt>
                <c:pt idx="309">
                  <c:v>45481</c:v>
                </c:pt>
                <c:pt idx="310">
                  <c:v>45478</c:v>
                </c:pt>
                <c:pt idx="311">
                  <c:v>45476</c:v>
                </c:pt>
                <c:pt idx="312">
                  <c:v>45475</c:v>
                </c:pt>
                <c:pt idx="313">
                  <c:v>45474</c:v>
                </c:pt>
                <c:pt idx="314">
                  <c:v>45471</c:v>
                </c:pt>
                <c:pt idx="315">
                  <c:v>45470</c:v>
                </c:pt>
                <c:pt idx="316">
                  <c:v>45469</c:v>
                </c:pt>
                <c:pt idx="317">
                  <c:v>45468</c:v>
                </c:pt>
                <c:pt idx="318">
                  <c:v>45467</c:v>
                </c:pt>
                <c:pt idx="319">
                  <c:v>45464</c:v>
                </c:pt>
                <c:pt idx="320">
                  <c:v>45463</c:v>
                </c:pt>
                <c:pt idx="321">
                  <c:v>45461</c:v>
                </c:pt>
                <c:pt idx="322">
                  <c:v>45460</c:v>
                </c:pt>
                <c:pt idx="323">
                  <c:v>45457</c:v>
                </c:pt>
                <c:pt idx="324">
                  <c:v>45456</c:v>
                </c:pt>
                <c:pt idx="325">
                  <c:v>45455</c:v>
                </c:pt>
                <c:pt idx="326">
                  <c:v>45454</c:v>
                </c:pt>
                <c:pt idx="327">
                  <c:v>45453</c:v>
                </c:pt>
                <c:pt idx="328">
                  <c:v>45450</c:v>
                </c:pt>
                <c:pt idx="329">
                  <c:v>45449</c:v>
                </c:pt>
                <c:pt idx="330">
                  <c:v>45448</c:v>
                </c:pt>
                <c:pt idx="331">
                  <c:v>45447</c:v>
                </c:pt>
                <c:pt idx="332">
                  <c:v>45446</c:v>
                </c:pt>
                <c:pt idx="333">
                  <c:v>45443</c:v>
                </c:pt>
                <c:pt idx="334">
                  <c:v>45442</c:v>
                </c:pt>
                <c:pt idx="335">
                  <c:v>45441</c:v>
                </c:pt>
                <c:pt idx="336">
                  <c:v>45440</c:v>
                </c:pt>
                <c:pt idx="337">
                  <c:v>45439</c:v>
                </c:pt>
                <c:pt idx="338">
                  <c:v>45435</c:v>
                </c:pt>
                <c:pt idx="339">
                  <c:v>45434</c:v>
                </c:pt>
                <c:pt idx="340">
                  <c:v>45433</c:v>
                </c:pt>
                <c:pt idx="341">
                  <c:v>45432</c:v>
                </c:pt>
                <c:pt idx="342">
                  <c:v>45429</c:v>
                </c:pt>
                <c:pt idx="343">
                  <c:v>45428</c:v>
                </c:pt>
                <c:pt idx="344">
                  <c:v>45427</c:v>
                </c:pt>
                <c:pt idx="345">
                  <c:v>45426</c:v>
                </c:pt>
                <c:pt idx="346">
                  <c:v>45425</c:v>
                </c:pt>
                <c:pt idx="347">
                  <c:v>45422</c:v>
                </c:pt>
                <c:pt idx="348">
                  <c:v>45421</c:v>
                </c:pt>
                <c:pt idx="349">
                  <c:v>45420</c:v>
                </c:pt>
                <c:pt idx="350">
                  <c:v>45419</c:v>
                </c:pt>
                <c:pt idx="351">
                  <c:v>45418</c:v>
                </c:pt>
                <c:pt idx="352">
                  <c:v>45415</c:v>
                </c:pt>
                <c:pt idx="353">
                  <c:v>45414</c:v>
                </c:pt>
                <c:pt idx="354">
                  <c:v>45413</c:v>
                </c:pt>
                <c:pt idx="355">
                  <c:v>45412</c:v>
                </c:pt>
                <c:pt idx="356">
                  <c:v>45411</c:v>
                </c:pt>
                <c:pt idx="357">
                  <c:v>45408</c:v>
                </c:pt>
                <c:pt idx="358">
                  <c:v>45407</c:v>
                </c:pt>
                <c:pt idx="359">
                  <c:v>45406</c:v>
                </c:pt>
                <c:pt idx="360">
                  <c:v>45405</c:v>
                </c:pt>
                <c:pt idx="361">
                  <c:v>45404</c:v>
                </c:pt>
                <c:pt idx="362">
                  <c:v>45401</c:v>
                </c:pt>
                <c:pt idx="363">
                  <c:v>45400</c:v>
                </c:pt>
                <c:pt idx="364">
                  <c:v>45399</c:v>
                </c:pt>
                <c:pt idx="365">
                  <c:v>45398</c:v>
                </c:pt>
                <c:pt idx="366">
                  <c:v>45397</c:v>
                </c:pt>
                <c:pt idx="367">
                  <c:v>45394</c:v>
                </c:pt>
                <c:pt idx="368">
                  <c:v>45393</c:v>
                </c:pt>
                <c:pt idx="369">
                  <c:v>45392</c:v>
                </c:pt>
                <c:pt idx="370">
                  <c:v>45391</c:v>
                </c:pt>
                <c:pt idx="371">
                  <c:v>45390</c:v>
                </c:pt>
                <c:pt idx="372">
                  <c:v>45387</c:v>
                </c:pt>
                <c:pt idx="373">
                  <c:v>45386</c:v>
                </c:pt>
                <c:pt idx="374">
                  <c:v>45385</c:v>
                </c:pt>
                <c:pt idx="375">
                  <c:v>45384</c:v>
                </c:pt>
                <c:pt idx="376">
                  <c:v>45383</c:v>
                </c:pt>
                <c:pt idx="377">
                  <c:v>45379</c:v>
                </c:pt>
                <c:pt idx="378">
                  <c:v>45378</c:v>
                </c:pt>
                <c:pt idx="379">
                  <c:v>45377</c:v>
                </c:pt>
                <c:pt idx="380">
                  <c:v>45376</c:v>
                </c:pt>
                <c:pt idx="381">
                  <c:v>45373</c:v>
                </c:pt>
                <c:pt idx="382">
                  <c:v>45372</c:v>
                </c:pt>
                <c:pt idx="383">
                  <c:v>45371</c:v>
                </c:pt>
                <c:pt idx="384">
                  <c:v>45370</c:v>
                </c:pt>
                <c:pt idx="385">
                  <c:v>45369</c:v>
                </c:pt>
                <c:pt idx="386">
                  <c:v>45366</c:v>
                </c:pt>
                <c:pt idx="387">
                  <c:v>45365</c:v>
                </c:pt>
                <c:pt idx="388">
                  <c:v>45364</c:v>
                </c:pt>
                <c:pt idx="389">
                  <c:v>45363</c:v>
                </c:pt>
                <c:pt idx="390">
                  <c:v>45362</c:v>
                </c:pt>
                <c:pt idx="391">
                  <c:v>45359</c:v>
                </c:pt>
                <c:pt idx="392">
                  <c:v>45358</c:v>
                </c:pt>
                <c:pt idx="393">
                  <c:v>45357</c:v>
                </c:pt>
                <c:pt idx="394">
                  <c:v>45356</c:v>
                </c:pt>
                <c:pt idx="395">
                  <c:v>45355</c:v>
                </c:pt>
                <c:pt idx="396">
                  <c:v>45352</c:v>
                </c:pt>
                <c:pt idx="397">
                  <c:v>45351</c:v>
                </c:pt>
                <c:pt idx="398">
                  <c:v>45350</c:v>
                </c:pt>
                <c:pt idx="399">
                  <c:v>45349</c:v>
                </c:pt>
                <c:pt idx="400">
                  <c:v>45348</c:v>
                </c:pt>
                <c:pt idx="401">
                  <c:v>45345</c:v>
                </c:pt>
                <c:pt idx="402">
                  <c:v>45344</c:v>
                </c:pt>
                <c:pt idx="403">
                  <c:v>45343</c:v>
                </c:pt>
                <c:pt idx="404">
                  <c:v>45342</c:v>
                </c:pt>
                <c:pt idx="405">
                  <c:v>45338</c:v>
                </c:pt>
                <c:pt idx="406">
                  <c:v>45337</c:v>
                </c:pt>
                <c:pt idx="407">
                  <c:v>45336</c:v>
                </c:pt>
                <c:pt idx="408">
                  <c:v>45335</c:v>
                </c:pt>
                <c:pt idx="409">
                  <c:v>45334</c:v>
                </c:pt>
                <c:pt idx="410">
                  <c:v>45331</c:v>
                </c:pt>
                <c:pt idx="411">
                  <c:v>45330</c:v>
                </c:pt>
                <c:pt idx="412">
                  <c:v>45329</c:v>
                </c:pt>
                <c:pt idx="413">
                  <c:v>45328</c:v>
                </c:pt>
                <c:pt idx="414">
                  <c:v>45327</c:v>
                </c:pt>
                <c:pt idx="415">
                  <c:v>45324</c:v>
                </c:pt>
                <c:pt idx="416">
                  <c:v>45323</c:v>
                </c:pt>
                <c:pt idx="417">
                  <c:v>45322</c:v>
                </c:pt>
                <c:pt idx="418">
                  <c:v>45321</c:v>
                </c:pt>
                <c:pt idx="419">
                  <c:v>45320</c:v>
                </c:pt>
                <c:pt idx="420">
                  <c:v>45317</c:v>
                </c:pt>
                <c:pt idx="421">
                  <c:v>45316</c:v>
                </c:pt>
                <c:pt idx="422">
                  <c:v>45315</c:v>
                </c:pt>
                <c:pt idx="423">
                  <c:v>45314</c:v>
                </c:pt>
                <c:pt idx="424">
                  <c:v>45313</c:v>
                </c:pt>
                <c:pt idx="425">
                  <c:v>45310</c:v>
                </c:pt>
                <c:pt idx="426">
                  <c:v>45309</c:v>
                </c:pt>
                <c:pt idx="427">
                  <c:v>45308</c:v>
                </c:pt>
                <c:pt idx="428">
                  <c:v>45307</c:v>
                </c:pt>
                <c:pt idx="429">
                  <c:v>45303</c:v>
                </c:pt>
                <c:pt idx="430">
                  <c:v>45302</c:v>
                </c:pt>
                <c:pt idx="431">
                  <c:v>45301</c:v>
                </c:pt>
                <c:pt idx="432">
                  <c:v>45300</c:v>
                </c:pt>
                <c:pt idx="433">
                  <c:v>45299</c:v>
                </c:pt>
                <c:pt idx="434">
                  <c:v>45296</c:v>
                </c:pt>
                <c:pt idx="435">
                  <c:v>45295</c:v>
                </c:pt>
                <c:pt idx="436">
                  <c:v>45294</c:v>
                </c:pt>
                <c:pt idx="437">
                  <c:v>45293</c:v>
                </c:pt>
                <c:pt idx="438">
                  <c:v>45289</c:v>
                </c:pt>
                <c:pt idx="439">
                  <c:v>45288</c:v>
                </c:pt>
                <c:pt idx="440">
                  <c:v>45287</c:v>
                </c:pt>
                <c:pt idx="441">
                  <c:v>45286</c:v>
                </c:pt>
                <c:pt idx="442">
                  <c:v>45282</c:v>
                </c:pt>
                <c:pt idx="443">
                  <c:v>45281</c:v>
                </c:pt>
                <c:pt idx="444">
                  <c:v>45280</c:v>
                </c:pt>
                <c:pt idx="445">
                  <c:v>45279</c:v>
                </c:pt>
                <c:pt idx="446">
                  <c:v>45278</c:v>
                </c:pt>
                <c:pt idx="447">
                  <c:v>45275</c:v>
                </c:pt>
                <c:pt idx="448">
                  <c:v>45274</c:v>
                </c:pt>
                <c:pt idx="449">
                  <c:v>45273</c:v>
                </c:pt>
                <c:pt idx="450">
                  <c:v>45272</c:v>
                </c:pt>
                <c:pt idx="451">
                  <c:v>45271</c:v>
                </c:pt>
                <c:pt idx="452">
                  <c:v>45268</c:v>
                </c:pt>
                <c:pt idx="453">
                  <c:v>45267</c:v>
                </c:pt>
                <c:pt idx="454">
                  <c:v>45266</c:v>
                </c:pt>
                <c:pt idx="455">
                  <c:v>45265</c:v>
                </c:pt>
                <c:pt idx="456">
                  <c:v>45264</c:v>
                </c:pt>
                <c:pt idx="457">
                  <c:v>45261</c:v>
                </c:pt>
                <c:pt idx="458">
                  <c:v>45260</c:v>
                </c:pt>
                <c:pt idx="459">
                  <c:v>45259</c:v>
                </c:pt>
                <c:pt idx="460">
                  <c:v>45258</c:v>
                </c:pt>
                <c:pt idx="461">
                  <c:v>45257</c:v>
                </c:pt>
                <c:pt idx="462">
                  <c:v>45254</c:v>
                </c:pt>
                <c:pt idx="463">
                  <c:v>45252</c:v>
                </c:pt>
                <c:pt idx="464">
                  <c:v>45251</c:v>
                </c:pt>
                <c:pt idx="465">
                  <c:v>45250</c:v>
                </c:pt>
                <c:pt idx="466">
                  <c:v>45247</c:v>
                </c:pt>
                <c:pt idx="467">
                  <c:v>45246</c:v>
                </c:pt>
                <c:pt idx="468">
                  <c:v>45245</c:v>
                </c:pt>
                <c:pt idx="469">
                  <c:v>45244</c:v>
                </c:pt>
                <c:pt idx="470">
                  <c:v>45243</c:v>
                </c:pt>
                <c:pt idx="471">
                  <c:v>45240</c:v>
                </c:pt>
                <c:pt idx="472">
                  <c:v>45239</c:v>
                </c:pt>
                <c:pt idx="473">
                  <c:v>45238</c:v>
                </c:pt>
                <c:pt idx="474">
                  <c:v>45237</c:v>
                </c:pt>
                <c:pt idx="475">
                  <c:v>45236</c:v>
                </c:pt>
                <c:pt idx="476">
                  <c:v>45233</c:v>
                </c:pt>
                <c:pt idx="477">
                  <c:v>45232</c:v>
                </c:pt>
                <c:pt idx="478">
                  <c:v>45231</c:v>
                </c:pt>
                <c:pt idx="479">
                  <c:v>45230</c:v>
                </c:pt>
                <c:pt idx="480">
                  <c:v>45229</c:v>
                </c:pt>
                <c:pt idx="481">
                  <c:v>45226</c:v>
                </c:pt>
                <c:pt idx="482">
                  <c:v>45225</c:v>
                </c:pt>
                <c:pt idx="483">
                  <c:v>45224</c:v>
                </c:pt>
                <c:pt idx="484">
                  <c:v>45223</c:v>
                </c:pt>
                <c:pt idx="485">
                  <c:v>45222</c:v>
                </c:pt>
                <c:pt idx="486">
                  <c:v>45219</c:v>
                </c:pt>
                <c:pt idx="487">
                  <c:v>45218</c:v>
                </c:pt>
                <c:pt idx="488">
                  <c:v>45217</c:v>
                </c:pt>
                <c:pt idx="489">
                  <c:v>45216</c:v>
                </c:pt>
                <c:pt idx="490">
                  <c:v>45215</c:v>
                </c:pt>
                <c:pt idx="491">
                  <c:v>45212</c:v>
                </c:pt>
                <c:pt idx="492">
                  <c:v>45211</c:v>
                </c:pt>
                <c:pt idx="493">
                  <c:v>45210</c:v>
                </c:pt>
                <c:pt idx="494">
                  <c:v>45209</c:v>
                </c:pt>
                <c:pt idx="495">
                  <c:v>45208</c:v>
                </c:pt>
                <c:pt idx="496">
                  <c:v>45205</c:v>
                </c:pt>
                <c:pt idx="497">
                  <c:v>45204</c:v>
                </c:pt>
                <c:pt idx="498">
                  <c:v>45203</c:v>
                </c:pt>
                <c:pt idx="499">
                  <c:v>45202</c:v>
                </c:pt>
                <c:pt idx="500">
                  <c:v>45201</c:v>
                </c:pt>
                <c:pt idx="501">
                  <c:v>45198</c:v>
                </c:pt>
                <c:pt idx="502">
                  <c:v>45197</c:v>
                </c:pt>
                <c:pt idx="503">
                  <c:v>45196</c:v>
                </c:pt>
                <c:pt idx="504">
                  <c:v>45195</c:v>
                </c:pt>
                <c:pt idx="505">
                  <c:v>45194</c:v>
                </c:pt>
                <c:pt idx="506">
                  <c:v>45191</c:v>
                </c:pt>
                <c:pt idx="507">
                  <c:v>45190</c:v>
                </c:pt>
                <c:pt idx="508">
                  <c:v>45189</c:v>
                </c:pt>
                <c:pt idx="509">
                  <c:v>45188</c:v>
                </c:pt>
                <c:pt idx="510">
                  <c:v>45187</c:v>
                </c:pt>
                <c:pt idx="511">
                  <c:v>45184</c:v>
                </c:pt>
                <c:pt idx="512">
                  <c:v>45183</c:v>
                </c:pt>
                <c:pt idx="513">
                  <c:v>45182</c:v>
                </c:pt>
                <c:pt idx="514">
                  <c:v>45181</c:v>
                </c:pt>
                <c:pt idx="515">
                  <c:v>45180</c:v>
                </c:pt>
                <c:pt idx="516">
                  <c:v>45177</c:v>
                </c:pt>
                <c:pt idx="517">
                  <c:v>45176</c:v>
                </c:pt>
                <c:pt idx="518">
                  <c:v>45175</c:v>
                </c:pt>
                <c:pt idx="519">
                  <c:v>45174</c:v>
                </c:pt>
                <c:pt idx="520">
                  <c:v>45170</c:v>
                </c:pt>
                <c:pt idx="521">
                  <c:v>45169</c:v>
                </c:pt>
                <c:pt idx="522">
                  <c:v>45168</c:v>
                </c:pt>
                <c:pt idx="523">
                  <c:v>45167</c:v>
                </c:pt>
                <c:pt idx="524">
                  <c:v>45166</c:v>
                </c:pt>
                <c:pt idx="525">
                  <c:v>45163</c:v>
                </c:pt>
                <c:pt idx="526">
                  <c:v>45162</c:v>
                </c:pt>
                <c:pt idx="527">
                  <c:v>45161</c:v>
                </c:pt>
                <c:pt idx="528">
                  <c:v>45160</c:v>
                </c:pt>
                <c:pt idx="529">
                  <c:v>45159</c:v>
                </c:pt>
                <c:pt idx="530">
                  <c:v>45156</c:v>
                </c:pt>
                <c:pt idx="531">
                  <c:v>45155</c:v>
                </c:pt>
                <c:pt idx="532">
                  <c:v>45154</c:v>
                </c:pt>
                <c:pt idx="533">
                  <c:v>45153</c:v>
                </c:pt>
                <c:pt idx="534">
                  <c:v>45152</c:v>
                </c:pt>
                <c:pt idx="535">
                  <c:v>45149</c:v>
                </c:pt>
                <c:pt idx="536">
                  <c:v>45148</c:v>
                </c:pt>
                <c:pt idx="537">
                  <c:v>45147</c:v>
                </c:pt>
                <c:pt idx="538">
                  <c:v>45146</c:v>
                </c:pt>
                <c:pt idx="539">
                  <c:v>45145</c:v>
                </c:pt>
                <c:pt idx="540">
                  <c:v>45142</c:v>
                </c:pt>
                <c:pt idx="541">
                  <c:v>45141</c:v>
                </c:pt>
                <c:pt idx="542">
                  <c:v>45140</c:v>
                </c:pt>
                <c:pt idx="543">
                  <c:v>45139</c:v>
                </c:pt>
                <c:pt idx="544">
                  <c:v>45138</c:v>
                </c:pt>
                <c:pt idx="545">
                  <c:v>45135</c:v>
                </c:pt>
                <c:pt idx="546">
                  <c:v>45134</c:v>
                </c:pt>
                <c:pt idx="547">
                  <c:v>45133</c:v>
                </c:pt>
                <c:pt idx="548">
                  <c:v>45132</c:v>
                </c:pt>
                <c:pt idx="549">
                  <c:v>45131</c:v>
                </c:pt>
                <c:pt idx="550">
                  <c:v>45128</c:v>
                </c:pt>
                <c:pt idx="551">
                  <c:v>45127</c:v>
                </c:pt>
                <c:pt idx="552">
                  <c:v>45126</c:v>
                </c:pt>
                <c:pt idx="553">
                  <c:v>45125</c:v>
                </c:pt>
                <c:pt idx="554">
                  <c:v>45124</c:v>
                </c:pt>
                <c:pt idx="555">
                  <c:v>45121</c:v>
                </c:pt>
                <c:pt idx="556">
                  <c:v>45120</c:v>
                </c:pt>
                <c:pt idx="557">
                  <c:v>45119</c:v>
                </c:pt>
                <c:pt idx="558">
                  <c:v>45118</c:v>
                </c:pt>
                <c:pt idx="559">
                  <c:v>45117</c:v>
                </c:pt>
                <c:pt idx="560">
                  <c:v>45114</c:v>
                </c:pt>
                <c:pt idx="561">
                  <c:v>45113</c:v>
                </c:pt>
                <c:pt idx="562">
                  <c:v>45112</c:v>
                </c:pt>
                <c:pt idx="563">
                  <c:v>45111</c:v>
                </c:pt>
                <c:pt idx="564">
                  <c:v>45107</c:v>
                </c:pt>
                <c:pt idx="565">
                  <c:v>45106</c:v>
                </c:pt>
                <c:pt idx="566">
                  <c:v>45105</c:v>
                </c:pt>
                <c:pt idx="567">
                  <c:v>45104</c:v>
                </c:pt>
                <c:pt idx="568">
                  <c:v>45103</c:v>
                </c:pt>
                <c:pt idx="569">
                  <c:v>45100</c:v>
                </c:pt>
                <c:pt idx="570">
                  <c:v>45099</c:v>
                </c:pt>
                <c:pt idx="571">
                  <c:v>45098</c:v>
                </c:pt>
                <c:pt idx="572">
                  <c:v>45097</c:v>
                </c:pt>
                <c:pt idx="573">
                  <c:v>45093</c:v>
                </c:pt>
                <c:pt idx="574">
                  <c:v>45092</c:v>
                </c:pt>
                <c:pt idx="575">
                  <c:v>45091</c:v>
                </c:pt>
                <c:pt idx="576">
                  <c:v>45090</c:v>
                </c:pt>
                <c:pt idx="577">
                  <c:v>45089</c:v>
                </c:pt>
                <c:pt idx="578">
                  <c:v>45086</c:v>
                </c:pt>
                <c:pt idx="579">
                  <c:v>45085</c:v>
                </c:pt>
                <c:pt idx="580">
                  <c:v>45084</c:v>
                </c:pt>
                <c:pt idx="581">
                  <c:v>45083</c:v>
                </c:pt>
                <c:pt idx="582">
                  <c:v>45082</c:v>
                </c:pt>
                <c:pt idx="583">
                  <c:v>45079</c:v>
                </c:pt>
                <c:pt idx="584">
                  <c:v>45078</c:v>
                </c:pt>
                <c:pt idx="585">
                  <c:v>45077</c:v>
                </c:pt>
                <c:pt idx="586">
                  <c:v>45076</c:v>
                </c:pt>
                <c:pt idx="587">
                  <c:v>45072</c:v>
                </c:pt>
                <c:pt idx="588">
                  <c:v>45071</c:v>
                </c:pt>
                <c:pt idx="589">
                  <c:v>45070</c:v>
                </c:pt>
                <c:pt idx="590">
                  <c:v>45069</c:v>
                </c:pt>
                <c:pt idx="591">
                  <c:v>45068</c:v>
                </c:pt>
                <c:pt idx="592">
                  <c:v>45065</c:v>
                </c:pt>
                <c:pt idx="593">
                  <c:v>45064</c:v>
                </c:pt>
                <c:pt idx="594">
                  <c:v>45063</c:v>
                </c:pt>
                <c:pt idx="595">
                  <c:v>45062</c:v>
                </c:pt>
                <c:pt idx="596">
                  <c:v>45061</c:v>
                </c:pt>
                <c:pt idx="597">
                  <c:v>45058</c:v>
                </c:pt>
                <c:pt idx="598">
                  <c:v>45057</c:v>
                </c:pt>
                <c:pt idx="599">
                  <c:v>45056</c:v>
                </c:pt>
                <c:pt idx="600">
                  <c:v>45055</c:v>
                </c:pt>
                <c:pt idx="601">
                  <c:v>45054</c:v>
                </c:pt>
                <c:pt idx="602">
                  <c:v>45051</c:v>
                </c:pt>
                <c:pt idx="603">
                  <c:v>45050</c:v>
                </c:pt>
                <c:pt idx="604">
                  <c:v>45049</c:v>
                </c:pt>
                <c:pt idx="605">
                  <c:v>45048</c:v>
                </c:pt>
                <c:pt idx="606">
                  <c:v>45047</c:v>
                </c:pt>
                <c:pt idx="607">
                  <c:v>45044</c:v>
                </c:pt>
                <c:pt idx="608">
                  <c:v>45043</c:v>
                </c:pt>
                <c:pt idx="609">
                  <c:v>45042</c:v>
                </c:pt>
                <c:pt idx="610">
                  <c:v>45041</c:v>
                </c:pt>
                <c:pt idx="611">
                  <c:v>45040</c:v>
                </c:pt>
                <c:pt idx="612">
                  <c:v>45037</c:v>
                </c:pt>
                <c:pt idx="613">
                  <c:v>45036</c:v>
                </c:pt>
                <c:pt idx="614">
                  <c:v>45035</c:v>
                </c:pt>
                <c:pt idx="615">
                  <c:v>45034</c:v>
                </c:pt>
                <c:pt idx="616">
                  <c:v>45033</c:v>
                </c:pt>
                <c:pt idx="617">
                  <c:v>45030</c:v>
                </c:pt>
                <c:pt idx="618">
                  <c:v>45029</c:v>
                </c:pt>
                <c:pt idx="619">
                  <c:v>45028</c:v>
                </c:pt>
                <c:pt idx="620">
                  <c:v>45027</c:v>
                </c:pt>
                <c:pt idx="621">
                  <c:v>45026</c:v>
                </c:pt>
                <c:pt idx="622">
                  <c:v>45023</c:v>
                </c:pt>
                <c:pt idx="623">
                  <c:v>45022</c:v>
                </c:pt>
                <c:pt idx="624">
                  <c:v>45021</c:v>
                </c:pt>
                <c:pt idx="625">
                  <c:v>45020</c:v>
                </c:pt>
                <c:pt idx="626">
                  <c:v>45016</c:v>
                </c:pt>
                <c:pt idx="627">
                  <c:v>45015</c:v>
                </c:pt>
                <c:pt idx="628">
                  <c:v>45014</c:v>
                </c:pt>
                <c:pt idx="629">
                  <c:v>45013</c:v>
                </c:pt>
                <c:pt idx="630">
                  <c:v>45012</c:v>
                </c:pt>
                <c:pt idx="631">
                  <c:v>45009</c:v>
                </c:pt>
                <c:pt idx="632">
                  <c:v>45008</c:v>
                </c:pt>
                <c:pt idx="633">
                  <c:v>45007</c:v>
                </c:pt>
                <c:pt idx="634">
                  <c:v>45006</c:v>
                </c:pt>
                <c:pt idx="635">
                  <c:v>45005</c:v>
                </c:pt>
                <c:pt idx="636">
                  <c:v>45002</c:v>
                </c:pt>
                <c:pt idx="637">
                  <c:v>45001</c:v>
                </c:pt>
                <c:pt idx="638">
                  <c:v>45000</c:v>
                </c:pt>
                <c:pt idx="639">
                  <c:v>44999</c:v>
                </c:pt>
                <c:pt idx="640">
                  <c:v>44998</c:v>
                </c:pt>
                <c:pt idx="641">
                  <c:v>44995</c:v>
                </c:pt>
                <c:pt idx="642">
                  <c:v>44994</c:v>
                </c:pt>
                <c:pt idx="643">
                  <c:v>44993</c:v>
                </c:pt>
                <c:pt idx="644">
                  <c:v>44992</c:v>
                </c:pt>
                <c:pt idx="645">
                  <c:v>44991</c:v>
                </c:pt>
                <c:pt idx="646">
                  <c:v>44988</c:v>
                </c:pt>
                <c:pt idx="647">
                  <c:v>44987</c:v>
                </c:pt>
                <c:pt idx="648">
                  <c:v>44986</c:v>
                </c:pt>
                <c:pt idx="649">
                  <c:v>44985</c:v>
                </c:pt>
                <c:pt idx="650">
                  <c:v>44984</c:v>
                </c:pt>
                <c:pt idx="651">
                  <c:v>44981</c:v>
                </c:pt>
                <c:pt idx="652">
                  <c:v>44980</c:v>
                </c:pt>
                <c:pt idx="653">
                  <c:v>44979</c:v>
                </c:pt>
                <c:pt idx="654">
                  <c:v>44978</c:v>
                </c:pt>
                <c:pt idx="655">
                  <c:v>44974</c:v>
                </c:pt>
                <c:pt idx="656">
                  <c:v>44973</c:v>
                </c:pt>
                <c:pt idx="657">
                  <c:v>44972</c:v>
                </c:pt>
                <c:pt idx="658">
                  <c:v>44971</c:v>
                </c:pt>
                <c:pt idx="659">
                  <c:v>44970</c:v>
                </c:pt>
                <c:pt idx="660">
                  <c:v>44967</c:v>
                </c:pt>
                <c:pt idx="661">
                  <c:v>44966</c:v>
                </c:pt>
                <c:pt idx="662">
                  <c:v>44965</c:v>
                </c:pt>
                <c:pt idx="663">
                  <c:v>44964</c:v>
                </c:pt>
                <c:pt idx="664">
                  <c:v>44963</c:v>
                </c:pt>
                <c:pt idx="665">
                  <c:v>44960</c:v>
                </c:pt>
                <c:pt idx="666">
                  <c:v>44959</c:v>
                </c:pt>
                <c:pt idx="667">
                  <c:v>44958</c:v>
                </c:pt>
                <c:pt idx="668">
                  <c:v>44957</c:v>
                </c:pt>
                <c:pt idx="669">
                  <c:v>44956</c:v>
                </c:pt>
                <c:pt idx="670">
                  <c:v>44953</c:v>
                </c:pt>
                <c:pt idx="671">
                  <c:v>44952</c:v>
                </c:pt>
                <c:pt idx="672">
                  <c:v>44951</c:v>
                </c:pt>
                <c:pt idx="673">
                  <c:v>44950</c:v>
                </c:pt>
                <c:pt idx="674">
                  <c:v>44949</c:v>
                </c:pt>
                <c:pt idx="675">
                  <c:v>44946</c:v>
                </c:pt>
                <c:pt idx="676">
                  <c:v>44945</c:v>
                </c:pt>
                <c:pt idx="677">
                  <c:v>44944</c:v>
                </c:pt>
                <c:pt idx="678">
                  <c:v>44943</c:v>
                </c:pt>
                <c:pt idx="679">
                  <c:v>44939</c:v>
                </c:pt>
                <c:pt idx="680">
                  <c:v>44938</c:v>
                </c:pt>
                <c:pt idx="681">
                  <c:v>44937</c:v>
                </c:pt>
                <c:pt idx="682">
                  <c:v>44936</c:v>
                </c:pt>
                <c:pt idx="683">
                  <c:v>44935</c:v>
                </c:pt>
                <c:pt idx="684">
                  <c:v>44932</c:v>
                </c:pt>
                <c:pt idx="685">
                  <c:v>44931</c:v>
                </c:pt>
                <c:pt idx="686">
                  <c:v>44930</c:v>
                </c:pt>
                <c:pt idx="687">
                  <c:v>44929</c:v>
                </c:pt>
                <c:pt idx="688">
                  <c:v>44925</c:v>
                </c:pt>
                <c:pt idx="689">
                  <c:v>44924</c:v>
                </c:pt>
                <c:pt idx="690">
                  <c:v>44923</c:v>
                </c:pt>
                <c:pt idx="691">
                  <c:v>44922</c:v>
                </c:pt>
                <c:pt idx="692">
                  <c:v>44918</c:v>
                </c:pt>
                <c:pt idx="693">
                  <c:v>44917</c:v>
                </c:pt>
                <c:pt idx="694">
                  <c:v>44916</c:v>
                </c:pt>
                <c:pt idx="695">
                  <c:v>44915</c:v>
                </c:pt>
                <c:pt idx="696">
                  <c:v>44914</c:v>
                </c:pt>
                <c:pt idx="697">
                  <c:v>44911</c:v>
                </c:pt>
                <c:pt idx="698">
                  <c:v>44910</c:v>
                </c:pt>
                <c:pt idx="699">
                  <c:v>44909</c:v>
                </c:pt>
                <c:pt idx="700">
                  <c:v>44908</c:v>
                </c:pt>
                <c:pt idx="701">
                  <c:v>44907</c:v>
                </c:pt>
                <c:pt idx="702">
                  <c:v>44904</c:v>
                </c:pt>
                <c:pt idx="703">
                  <c:v>44903</c:v>
                </c:pt>
                <c:pt idx="704">
                  <c:v>44902</c:v>
                </c:pt>
                <c:pt idx="705">
                  <c:v>44901</c:v>
                </c:pt>
                <c:pt idx="706">
                  <c:v>44900</c:v>
                </c:pt>
                <c:pt idx="707">
                  <c:v>44897</c:v>
                </c:pt>
                <c:pt idx="708">
                  <c:v>44896</c:v>
                </c:pt>
                <c:pt idx="709">
                  <c:v>44895</c:v>
                </c:pt>
                <c:pt idx="710">
                  <c:v>44894</c:v>
                </c:pt>
                <c:pt idx="711">
                  <c:v>44893</c:v>
                </c:pt>
                <c:pt idx="712">
                  <c:v>44890</c:v>
                </c:pt>
                <c:pt idx="713">
                  <c:v>44888</c:v>
                </c:pt>
                <c:pt idx="714">
                  <c:v>44887</c:v>
                </c:pt>
                <c:pt idx="715">
                  <c:v>44886</c:v>
                </c:pt>
                <c:pt idx="716">
                  <c:v>44883</c:v>
                </c:pt>
                <c:pt idx="717">
                  <c:v>44882</c:v>
                </c:pt>
                <c:pt idx="718">
                  <c:v>44881</c:v>
                </c:pt>
                <c:pt idx="719">
                  <c:v>44880</c:v>
                </c:pt>
                <c:pt idx="720">
                  <c:v>44879</c:v>
                </c:pt>
                <c:pt idx="721">
                  <c:v>44876</c:v>
                </c:pt>
                <c:pt idx="722">
                  <c:v>44875</c:v>
                </c:pt>
                <c:pt idx="723">
                  <c:v>44874</c:v>
                </c:pt>
                <c:pt idx="724">
                  <c:v>44873</c:v>
                </c:pt>
                <c:pt idx="725">
                  <c:v>44872</c:v>
                </c:pt>
                <c:pt idx="726">
                  <c:v>44869</c:v>
                </c:pt>
                <c:pt idx="727">
                  <c:v>44868</c:v>
                </c:pt>
                <c:pt idx="728">
                  <c:v>44867</c:v>
                </c:pt>
                <c:pt idx="729">
                  <c:v>44866</c:v>
                </c:pt>
                <c:pt idx="730">
                  <c:v>44865</c:v>
                </c:pt>
                <c:pt idx="731">
                  <c:v>44862</c:v>
                </c:pt>
                <c:pt idx="732">
                  <c:v>44861</c:v>
                </c:pt>
                <c:pt idx="733">
                  <c:v>44860</c:v>
                </c:pt>
                <c:pt idx="734">
                  <c:v>44859</c:v>
                </c:pt>
                <c:pt idx="735">
                  <c:v>44858</c:v>
                </c:pt>
                <c:pt idx="736">
                  <c:v>44855</c:v>
                </c:pt>
                <c:pt idx="737">
                  <c:v>44854</c:v>
                </c:pt>
                <c:pt idx="738">
                  <c:v>44853</c:v>
                </c:pt>
                <c:pt idx="739">
                  <c:v>44852</c:v>
                </c:pt>
                <c:pt idx="740">
                  <c:v>44851</c:v>
                </c:pt>
                <c:pt idx="741">
                  <c:v>44848</c:v>
                </c:pt>
                <c:pt idx="742">
                  <c:v>44847</c:v>
                </c:pt>
                <c:pt idx="743">
                  <c:v>44846</c:v>
                </c:pt>
                <c:pt idx="744">
                  <c:v>44845</c:v>
                </c:pt>
                <c:pt idx="745">
                  <c:v>44844</c:v>
                </c:pt>
                <c:pt idx="746">
                  <c:v>44841</c:v>
                </c:pt>
                <c:pt idx="747">
                  <c:v>44840</c:v>
                </c:pt>
                <c:pt idx="748">
                  <c:v>44839</c:v>
                </c:pt>
                <c:pt idx="749">
                  <c:v>44838</c:v>
                </c:pt>
                <c:pt idx="750">
                  <c:v>44837</c:v>
                </c:pt>
                <c:pt idx="751">
                  <c:v>44834</c:v>
                </c:pt>
                <c:pt idx="752">
                  <c:v>44833</c:v>
                </c:pt>
                <c:pt idx="753">
                  <c:v>44832</c:v>
                </c:pt>
                <c:pt idx="754">
                  <c:v>44831</c:v>
                </c:pt>
                <c:pt idx="755">
                  <c:v>44830</c:v>
                </c:pt>
                <c:pt idx="756">
                  <c:v>44827</c:v>
                </c:pt>
                <c:pt idx="757">
                  <c:v>44826</c:v>
                </c:pt>
                <c:pt idx="758">
                  <c:v>44825</c:v>
                </c:pt>
                <c:pt idx="759">
                  <c:v>44824</c:v>
                </c:pt>
                <c:pt idx="760">
                  <c:v>44823</c:v>
                </c:pt>
                <c:pt idx="761">
                  <c:v>44820</c:v>
                </c:pt>
                <c:pt idx="762">
                  <c:v>44819</c:v>
                </c:pt>
                <c:pt idx="763">
                  <c:v>44818</c:v>
                </c:pt>
                <c:pt idx="764">
                  <c:v>44817</c:v>
                </c:pt>
                <c:pt idx="765">
                  <c:v>44816</c:v>
                </c:pt>
                <c:pt idx="766">
                  <c:v>44813</c:v>
                </c:pt>
                <c:pt idx="767">
                  <c:v>44812</c:v>
                </c:pt>
                <c:pt idx="768">
                  <c:v>44811</c:v>
                </c:pt>
                <c:pt idx="769">
                  <c:v>44810</c:v>
                </c:pt>
                <c:pt idx="770">
                  <c:v>44806</c:v>
                </c:pt>
                <c:pt idx="771">
                  <c:v>44805</c:v>
                </c:pt>
                <c:pt idx="772">
                  <c:v>44804</c:v>
                </c:pt>
                <c:pt idx="773">
                  <c:v>44803</c:v>
                </c:pt>
                <c:pt idx="774">
                  <c:v>44802</c:v>
                </c:pt>
                <c:pt idx="775">
                  <c:v>44799</c:v>
                </c:pt>
                <c:pt idx="776">
                  <c:v>44798</c:v>
                </c:pt>
                <c:pt idx="777">
                  <c:v>44797</c:v>
                </c:pt>
                <c:pt idx="778">
                  <c:v>44796</c:v>
                </c:pt>
                <c:pt idx="779">
                  <c:v>44795</c:v>
                </c:pt>
                <c:pt idx="780">
                  <c:v>44792</c:v>
                </c:pt>
                <c:pt idx="781">
                  <c:v>44791</c:v>
                </c:pt>
                <c:pt idx="782">
                  <c:v>44790</c:v>
                </c:pt>
                <c:pt idx="783">
                  <c:v>44789</c:v>
                </c:pt>
                <c:pt idx="784">
                  <c:v>44788</c:v>
                </c:pt>
                <c:pt idx="785">
                  <c:v>44785</c:v>
                </c:pt>
                <c:pt idx="786">
                  <c:v>44784</c:v>
                </c:pt>
                <c:pt idx="787">
                  <c:v>44783</c:v>
                </c:pt>
                <c:pt idx="788">
                  <c:v>44782</c:v>
                </c:pt>
                <c:pt idx="789">
                  <c:v>44781</c:v>
                </c:pt>
                <c:pt idx="790">
                  <c:v>44778</c:v>
                </c:pt>
                <c:pt idx="791">
                  <c:v>44777</c:v>
                </c:pt>
                <c:pt idx="792">
                  <c:v>44776</c:v>
                </c:pt>
                <c:pt idx="793">
                  <c:v>44775</c:v>
                </c:pt>
                <c:pt idx="794">
                  <c:v>44774</c:v>
                </c:pt>
                <c:pt idx="795">
                  <c:v>44771</c:v>
                </c:pt>
                <c:pt idx="796">
                  <c:v>44770</c:v>
                </c:pt>
                <c:pt idx="797">
                  <c:v>44769</c:v>
                </c:pt>
                <c:pt idx="798">
                  <c:v>44768</c:v>
                </c:pt>
                <c:pt idx="799">
                  <c:v>44767</c:v>
                </c:pt>
                <c:pt idx="800">
                  <c:v>44764</c:v>
                </c:pt>
                <c:pt idx="801">
                  <c:v>44763</c:v>
                </c:pt>
                <c:pt idx="802">
                  <c:v>44762</c:v>
                </c:pt>
                <c:pt idx="803">
                  <c:v>44761</c:v>
                </c:pt>
                <c:pt idx="804">
                  <c:v>44760</c:v>
                </c:pt>
                <c:pt idx="805">
                  <c:v>44757</c:v>
                </c:pt>
                <c:pt idx="806">
                  <c:v>44756</c:v>
                </c:pt>
                <c:pt idx="807">
                  <c:v>44755</c:v>
                </c:pt>
                <c:pt idx="808">
                  <c:v>44754</c:v>
                </c:pt>
                <c:pt idx="809">
                  <c:v>44753</c:v>
                </c:pt>
                <c:pt idx="810">
                  <c:v>44750</c:v>
                </c:pt>
                <c:pt idx="811">
                  <c:v>44749</c:v>
                </c:pt>
                <c:pt idx="812">
                  <c:v>44748</c:v>
                </c:pt>
                <c:pt idx="813">
                  <c:v>44747</c:v>
                </c:pt>
                <c:pt idx="814">
                  <c:v>44743</c:v>
                </c:pt>
                <c:pt idx="815">
                  <c:v>44742</c:v>
                </c:pt>
                <c:pt idx="816">
                  <c:v>44741</c:v>
                </c:pt>
                <c:pt idx="817">
                  <c:v>44740</c:v>
                </c:pt>
                <c:pt idx="818">
                  <c:v>44739</c:v>
                </c:pt>
                <c:pt idx="819">
                  <c:v>44736</c:v>
                </c:pt>
                <c:pt idx="820">
                  <c:v>44735</c:v>
                </c:pt>
                <c:pt idx="821">
                  <c:v>44734</c:v>
                </c:pt>
                <c:pt idx="822">
                  <c:v>44733</c:v>
                </c:pt>
                <c:pt idx="823">
                  <c:v>44732</c:v>
                </c:pt>
                <c:pt idx="824">
                  <c:v>44729</c:v>
                </c:pt>
                <c:pt idx="825">
                  <c:v>44728</c:v>
                </c:pt>
                <c:pt idx="826">
                  <c:v>44727</c:v>
                </c:pt>
                <c:pt idx="827">
                  <c:v>44726</c:v>
                </c:pt>
                <c:pt idx="828">
                  <c:v>44725</c:v>
                </c:pt>
                <c:pt idx="829">
                  <c:v>44722</c:v>
                </c:pt>
                <c:pt idx="830">
                  <c:v>44721</c:v>
                </c:pt>
                <c:pt idx="831">
                  <c:v>44720</c:v>
                </c:pt>
                <c:pt idx="832">
                  <c:v>44719</c:v>
                </c:pt>
                <c:pt idx="833">
                  <c:v>44718</c:v>
                </c:pt>
                <c:pt idx="834">
                  <c:v>44714</c:v>
                </c:pt>
                <c:pt idx="835">
                  <c:v>44713</c:v>
                </c:pt>
                <c:pt idx="836">
                  <c:v>44712</c:v>
                </c:pt>
                <c:pt idx="837">
                  <c:v>44708</c:v>
                </c:pt>
                <c:pt idx="838">
                  <c:v>44707</c:v>
                </c:pt>
                <c:pt idx="839">
                  <c:v>44706</c:v>
                </c:pt>
                <c:pt idx="840">
                  <c:v>44705</c:v>
                </c:pt>
                <c:pt idx="841">
                  <c:v>44704</c:v>
                </c:pt>
                <c:pt idx="842">
                  <c:v>44701</c:v>
                </c:pt>
                <c:pt idx="843">
                  <c:v>44700</c:v>
                </c:pt>
                <c:pt idx="844">
                  <c:v>44699</c:v>
                </c:pt>
                <c:pt idx="845">
                  <c:v>44698</c:v>
                </c:pt>
                <c:pt idx="846">
                  <c:v>44697</c:v>
                </c:pt>
                <c:pt idx="847">
                  <c:v>44694</c:v>
                </c:pt>
                <c:pt idx="848">
                  <c:v>44693</c:v>
                </c:pt>
                <c:pt idx="849">
                  <c:v>44692</c:v>
                </c:pt>
                <c:pt idx="850">
                  <c:v>44691</c:v>
                </c:pt>
                <c:pt idx="851">
                  <c:v>44690</c:v>
                </c:pt>
                <c:pt idx="852">
                  <c:v>44687</c:v>
                </c:pt>
                <c:pt idx="853">
                  <c:v>44686</c:v>
                </c:pt>
                <c:pt idx="854">
                  <c:v>44685</c:v>
                </c:pt>
                <c:pt idx="855">
                  <c:v>44684</c:v>
                </c:pt>
                <c:pt idx="856">
                  <c:v>44683</c:v>
                </c:pt>
                <c:pt idx="857">
                  <c:v>44680</c:v>
                </c:pt>
                <c:pt idx="858">
                  <c:v>44679</c:v>
                </c:pt>
                <c:pt idx="859">
                  <c:v>44678</c:v>
                </c:pt>
                <c:pt idx="860">
                  <c:v>44677</c:v>
                </c:pt>
                <c:pt idx="861">
                  <c:v>44676</c:v>
                </c:pt>
                <c:pt idx="862">
                  <c:v>44673</c:v>
                </c:pt>
                <c:pt idx="863">
                  <c:v>44672</c:v>
                </c:pt>
                <c:pt idx="864">
                  <c:v>44671</c:v>
                </c:pt>
                <c:pt idx="865">
                  <c:v>44670</c:v>
                </c:pt>
                <c:pt idx="866">
                  <c:v>44669</c:v>
                </c:pt>
                <c:pt idx="867">
                  <c:v>44665</c:v>
                </c:pt>
                <c:pt idx="868">
                  <c:v>44664</c:v>
                </c:pt>
                <c:pt idx="869">
                  <c:v>44663</c:v>
                </c:pt>
                <c:pt idx="870">
                  <c:v>44662</c:v>
                </c:pt>
                <c:pt idx="871">
                  <c:v>44659</c:v>
                </c:pt>
                <c:pt idx="872">
                  <c:v>44658</c:v>
                </c:pt>
                <c:pt idx="873">
                  <c:v>44657</c:v>
                </c:pt>
                <c:pt idx="874">
                  <c:v>44656</c:v>
                </c:pt>
                <c:pt idx="875">
                  <c:v>44655</c:v>
                </c:pt>
                <c:pt idx="876">
                  <c:v>44652</c:v>
                </c:pt>
                <c:pt idx="877">
                  <c:v>44651</c:v>
                </c:pt>
                <c:pt idx="878">
                  <c:v>44650</c:v>
                </c:pt>
                <c:pt idx="879">
                  <c:v>44649</c:v>
                </c:pt>
                <c:pt idx="880">
                  <c:v>44648</c:v>
                </c:pt>
                <c:pt idx="881">
                  <c:v>44645</c:v>
                </c:pt>
                <c:pt idx="882">
                  <c:v>44644</c:v>
                </c:pt>
                <c:pt idx="883">
                  <c:v>44643</c:v>
                </c:pt>
                <c:pt idx="884">
                  <c:v>44642</c:v>
                </c:pt>
                <c:pt idx="885">
                  <c:v>44641</c:v>
                </c:pt>
                <c:pt idx="886">
                  <c:v>44638</c:v>
                </c:pt>
                <c:pt idx="887">
                  <c:v>44637</c:v>
                </c:pt>
                <c:pt idx="888">
                  <c:v>44636</c:v>
                </c:pt>
                <c:pt idx="889">
                  <c:v>44635</c:v>
                </c:pt>
                <c:pt idx="890">
                  <c:v>44634</c:v>
                </c:pt>
                <c:pt idx="891">
                  <c:v>44631</c:v>
                </c:pt>
                <c:pt idx="892">
                  <c:v>44630</c:v>
                </c:pt>
                <c:pt idx="893">
                  <c:v>44629</c:v>
                </c:pt>
                <c:pt idx="894">
                  <c:v>44628</c:v>
                </c:pt>
                <c:pt idx="895">
                  <c:v>44627</c:v>
                </c:pt>
                <c:pt idx="896">
                  <c:v>44624</c:v>
                </c:pt>
                <c:pt idx="897">
                  <c:v>44623</c:v>
                </c:pt>
                <c:pt idx="898">
                  <c:v>44622</c:v>
                </c:pt>
                <c:pt idx="899">
                  <c:v>44621</c:v>
                </c:pt>
                <c:pt idx="900">
                  <c:v>44620</c:v>
                </c:pt>
                <c:pt idx="901">
                  <c:v>44617</c:v>
                </c:pt>
                <c:pt idx="902">
                  <c:v>44616</c:v>
                </c:pt>
                <c:pt idx="903">
                  <c:v>44615</c:v>
                </c:pt>
                <c:pt idx="904">
                  <c:v>44614</c:v>
                </c:pt>
                <c:pt idx="905">
                  <c:v>44610</c:v>
                </c:pt>
                <c:pt idx="906">
                  <c:v>44609</c:v>
                </c:pt>
                <c:pt idx="907">
                  <c:v>44608</c:v>
                </c:pt>
                <c:pt idx="908">
                  <c:v>44607</c:v>
                </c:pt>
                <c:pt idx="909">
                  <c:v>44606</c:v>
                </c:pt>
                <c:pt idx="910">
                  <c:v>44603</c:v>
                </c:pt>
                <c:pt idx="911">
                  <c:v>44602</c:v>
                </c:pt>
                <c:pt idx="912">
                  <c:v>44601</c:v>
                </c:pt>
                <c:pt idx="913">
                  <c:v>44600</c:v>
                </c:pt>
                <c:pt idx="914">
                  <c:v>44599</c:v>
                </c:pt>
                <c:pt idx="915">
                  <c:v>44596</c:v>
                </c:pt>
                <c:pt idx="916">
                  <c:v>44595</c:v>
                </c:pt>
                <c:pt idx="917">
                  <c:v>44594</c:v>
                </c:pt>
                <c:pt idx="918">
                  <c:v>44593</c:v>
                </c:pt>
                <c:pt idx="919">
                  <c:v>44592</c:v>
                </c:pt>
                <c:pt idx="920">
                  <c:v>44589</c:v>
                </c:pt>
                <c:pt idx="921">
                  <c:v>44588</c:v>
                </c:pt>
                <c:pt idx="922">
                  <c:v>44587</c:v>
                </c:pt>
                <c:pt idx="923">
                  <c:v>44586</c:v>
                </c:pt>
                <c:pt idx="924">
                  <c:v>44585</c:v>
                </c:pt>
                <c:pt idx="925">
                  <c:v>44582</c:v>
                </c:pt>
                <c:pt idx="926">
                  <c:v>44581</c:v>
                </c:pt>
                <c:pt idx="927">
                  <c:v>44580</c:v>
                </c:pt>
                <c:pt idx="928">
                  <c:v>44579</c:v>
                </c:pt>
                <c:pt idx="929">
                  <c:v>44575</c:v>
                </c:pt>
                <c:pt idx="930">
                  <c:v>44574</c:v>
                </c:pt>
                <c:pt idx="931">
                  <c:v>44573</c:v>
                </c:pt>
                <c:pt idx="932">
                  <c:v>44572</c:v>
                </c:pt>
                <c:pt idx="933">
                  <c:v>44571</c:v>
                </c:pt>
                <c:pt idx="934">
                  <c:v>44568</c:v>
                </c:pt>
                <c:pt idx="935">
                  <c:v>44567</c:v>
                </c:pt>
                <c:pt idx="936">
                  <c:v>44566</c:v>
                </c:pt>
                <c:pt idx="937">
                  <c:v>44565</c:v>
                </c:pt>
                <c:pt idx="938">
                  <c:v>44564</c:v>
                </c:pt>
                <c:pt idx="939">
                  <c:v>44561</c:v>
                </c:pt>
                <c:pt idx="940">
                  <c:v>44560</c:v>
                </c:pt>
                <c:pt idx="941">
                  <c:v>44559</c:v>
                </c:pt>
                <c:pt idx="942">
                  <c:v>44558</c:v>
                </c:pt>
                <c:pt idx="943">
                  <c:v>44557</c:v>
                </c:pt>
                <c:pt idx="944">
                  <c:v>44553</c:v>
                </c:pt>
                <c:pt idx="945">
                  <c:v>44552</c:v>
                </c:pt>
                <c:pt idx="946">
                  <c:v>44551</c:v>
                </c:pt>
                <c:pt idx="947">
                  <c:v>44550</c:v>
                </c:pt>
                <c:pt idx="948">
                  <c:v>44547</c:v>
                </c:pt>
                <c:pt idx="949">
                  <c:v>44546</c:v>
                </c:pt>
                <c:pt idx="950">
                  <c:v>44545</c:v>
                </c:pt>
                <c:pt idx="951">
                  <c:v>44544</c:v>
                </c:pt>
                <c:pt idx="952">
                  <c:v>44543</c:v>
                </c:pt>
                <c:pt idx="953">
                  <c:v>44540</c:v>
                </c:pt>
                <c:pt idx="954">
                  <c:v>44539</c:v>
                </c:pt>
                <c:pt idx="955">
                  <c:v>44538</c:v>
                </c:pt>
                <c:pt idx="956">
                  <c:v>44537</c:v>
                </c:pt>
                <c:pt idx="957">
                  <c:v>44536</c:v>
                </c:pt>
                <c:pt idx="958">
                  <c:v>44533</c:v>
                </c:pt>
                <c:pt idx="959">
                  <c:v>44532</c:v>
                </c:pt>
                <c:pt idx="960">
                  <c:v>44531</c:v>
                </c:pt>
                <c:pt idx="961">
                  <c:v>44530</c:v>
                </c:pt>
                <c:pt idx="962">
                  <c:v>44529</c:v>
                </c:pt>
                <c:pt idx="963">
                  <c:v>44526</c:v>
                </c:pt>
                <c:pt idx="964">
                  <c:v>44524</c:v>
                </c:pt>
                <c:pt idx="965">
                  <c:v>44523</c:v>
                </c:pt>
                <c:pt idx="966">
                  <c:v>44522</c:v>
                </c:pt>
                <c:pt idx="967">
                  <c:v>44519</c:v>
                </c:pt>
                <c:pt idx="968">
                  <c:v>44518</c:v>
                </c:pt>
                <c:pt idx="969">
                  <c:v>44517</c:v>
                </c:pt>
                <c:pt idx="970">
                  <c:v>44516</c:v>
                </c:pt>
                <c:pt idx="971">
                  <c:v>44515</c:v>
                </c:pt>
                <c:pt idx="972">
                  <c:v>44512</c:v>
                </c:pt>
                <c:pt idx="973">
                  <c:v>44511</c:v>
                </c:pt>
                <c:pt idx="974">
                  <c:v>44510</c:v>
                </c:pt>
                <c:pt idx="975">
                  <c:v>44509</c:v>
                </c:pt>
                <c:pt idx="976">
                  <c:v>44508</c:v>
                </c:pt>
                <c:pt idx="977">
                  <c:v>44505</c:v>
                </c:pt>
                <c:pt idx="978">
                  <c:v>44504</c:v>
                </c:pt>
                <c:pt idx="979">
                  <c:v>44503</c:v>
                </c:pt>
                <c:pt idx="980">
                  <c:v>44502</c:v>
                </c:pt>
                <c:pt idx="981">
                  <c:v>44501</c:v>
                </c:pt>
                <c:pt idx="982">
                  <c:v>44498</c:v>
                </c:pt>
                <c:pt idx="983">
                  <c:v>44497</c:v>
                </c:pt>
                <c:pt idx="984">
                  <c:v>44496</c:v>
                </c:pt>
                <c:pt idx="985">
                  <c:v>44495</c:v>
                </c:pt>
                <c:pt idx="986">
                  <c:v>44494</c:v>
                </c:pt>
                <c:pt idx="987">
                  <c:v>44491</c:v>
                </c:pt>
                <c:pt idx="988">
                  <c:v>44490</c:v>
                </c:pt>
                <c:pt idx="989">
                  <c:v>44489</c:v>
                </c:pt>
                <c:pt idx="990">
                  <c:v>44488</c:v>
                </c:pt>
                <c:pt idx="991">
                  <c:v>44487</c:v>
                </c:pt>
                <c:pt idx="992">
                  <c:v>44484</c:v>
                </c:pt>
                <c:pt idx="993">
                  <c:v>44483</c:v>
                </c:pt>
                <c:pt idx="994">
                  <c:v>44482</c:v>
                </c:pt>
                <c:pt idx="995">
                  <c:v>44481</c:v>
                </c:pt>
                <c:pt idx="996">
                  <c:v>44480</c:v>
                </c:pt>
                <c:pt idx="997">
                  <c:v>44477</c:v>
                </c:pt>
                <c:pt idx="998">
                  <c:v>44476</c:v>
                </c:pt>
                <c:pt idx="999">
                  <c:v>44475</c:v>
                </c:pt>
                <c:pt idx="1000">
                  <c:v>44474</c:v>
                </c:pt>
                <c:pt idx="1001">
                  <c:v>44473</c:v>
                </c:pt>
                <c:pt idx="1002">
                  <c:v>44470</c:v>
                </c:pt>
                <c:pt idx="1003">
                  <c:v>44469</c:v>
                </c:pt>
                <c:pt idx="1004">
                  <c:v>44468</c:v>
                </c:pt>
                <c:pt idx="1005">
                  <c:v>44467</c:v>
                </c:pt>
                <c:pt idx="1006">
                  <c:v>44466</c:v>
                </c:pt>
                <c:pt idx="1007">
                  <c:v>44463</c:v>
                </c:pt>
                <c:pt idx="1008">
                  <c:v>44462</c:v>
                </c:pt>
                <c:pt idx="1009">
                  <c:v>44461</c:v>
                </c:pt>
                <c:pt idx="1010">
                  <c:v>44460</c:v>
                </c:pt>
                <c:pt idx="1011">
                  <c:v>44459</c:v>
                </c:pt>
                <c:pt idx="1012">
                  <c:v>44456</c:v>
                </c:pt>
                <c:pt idx="1013">
                  <c:v>44455</c:v>
                </c:pt>
                <c:pt idx="1014">
                  <c:v>44454</c:v>
                </c:pt>
                <c:pt idx="1015">
                  <c:v>44453</c:v>
                </c:pt>
                <c:pt idx="1016">
                  <c:v>44452</c:v>
                </c:pt>
                <c:pt idx="1017">
                  <c:v>44449</c:v>
                </c:pt>
                <c:pt idx="1018">
                  <c:v>44448</c:v>
                </c:pt>
                <c:pt idx="1019">
                  <c:v>44447</c:v>
                </c:pt>
                <c:pt idx="1020">
                  <c:v>44446</c:v>
                </c:pt>
              </c:numCache>
            </c:numRef>
          </c:cat>
          <c:val>
            <c:numRef>
              <c:f>'Graph '!$T$2:$T$1022</c:f>
              <c:numCache>
                <c:formatCode>0%</c:formatCode>
                <c:ptCount val="1021"/>
                <c:pt idx="0">
                  <c:v>0.95964875765740798</c:v>
                </c:pt>
                <c:pt idx="1">
                  <c:v>0.94681886102336676</c:v>
                </c:pt>
                <c:pt idx="2">
                  <c:v>0.93550530241641039</c:v>
                </c:pt>
                <c:pt idx="3">
                  <c:v>0.92940335639598359</c:v>
                </c:pt>
                <c:pt idx="4">
                  <c:v>0.92112057901279787</c:v>
                </c:pt>
                <c:pt idx="5">
                  <c:v>0.9212109979509171</c:v>
                </c:pt>
                <c:pt idx="6">
                  <c:v>0.95304331967180178</c:v>
                </c:pt>
                <c:pt idx="7">
                  <c:v>0.9283726870856337</c:v>
                </c:pt>
                <c:pt idx="8">
                  <c:v>0.92040658323293978</c:v>
                </c:pt>
                <c:pt idx="9">
                  <c:v>0.92461363964056065</c:v>
                </c:pt>
                <c:pt idx="10">
                  <c:v>0.89396765939002254</c:v>
                </c:pt>
                <c:pt idx="11">
                  <c:v>0.94872363928231951</c:v>
                </c:pt>
                <c:pt idx="12">
                  <c:v>0.91105754925596649</c:v>
                </c:pt>
                <c:pt idx="13">
                  <c:v>0.92275487023224256</c:v>
                </c:pt>
                <c:pt idx="14">
                  <c:v>0.92404430231900414</c:v>
                </c:pt>
                <c:pt idx="15">
                  <c:v>0.92057451257708278</c:v>
                </c:pt>
                <c:pt idx="16">
                  <c:v>0.92889566027585602</c:v>
                </c:pt>
                <c:pt idx="17">
                  <c:v>0.90132996369327145</c:v>
                </c:pt>
                <c:pt idx="18">
                  <c:v>0.89169652751604467</c:v>
                </c:pt>
                <c:pt idx="19">
                  <c:v>0.8901581028721175</c:v>
                </c:pt>
                <c:pt idx="20">
                  <c:v>0.86101951941771726</c:v>
                </c:pt>
                <c:pt idx="21">
                  <c:v>0.87975323386855231</c:v>
                </c:pt>
                <c:pt idx="22">
                  <c:v>0.88358813374304934</c:v>
                </c:pt>
                <c:pt idx="23">
                  <c:v>0.85305459983402332</c:v>
                </c:pt>
                <c:pt idx="24">
                  <c:v>0.86264800771906369</c:v>
                </c:pt>
                <c:pt idx="25">
                  <c:v>0.85242823996013639</c:v>
                </c:pt>
                <c:pt idx="26">
                  <c:v>0.83828664698214062</c:v>
                </c:pt>
                <c:pt idx="27">
                  <c:v>0.83344855283808439</c:v>
                </c:pt>
                <c:pt idx="28">
                  <c:v>0.83503606543204523</c:v>
                </c:pt>
                <c:pt idx="29">
                  <c:v>0.83396963119790724</c:v>
                </c:pt>
                <c:pt idx="30">
                  <c:v>0.84141222893932843</c:v>
                </c:pt>
                <c:pt idx="31">
                  <c:v>0.83704920430446106</c:v>
                </c:pt>
                <c:pt idx="32">
                  <c:v>0.85005940589369078</c:v>
                </c:pt>
                <c:pt idx="33">
                  <c:v>0.83003809497304326</c:v>
                </c:pt>
                <c:pt idx="34">
                  <c:v>0.81695642274968727</c:v>
                </c:pt>
                <c:pt idx="35">
                  <c:v>0.82842535744939094</c:v>
                </c:pt>
                <c:pt idx="36">
                  <c:v>0.83563388442304198</c:v>
                </c:pt>
                <c:pt idx="37">
                  <c:v>0.79929909039258651</c:v>
                </c:pt>
                <c:pt idx="38">
                  <c:v>0.78730019531556317</c:v>
                </c:pt>
                <c:pt idx="39">
                  <c:v>0.77020047601692276</c:v>
                </c:pt>
                <c:pt idx="40">
                  <c:v>0.76663114846558544</c:v>
                </c:pt>
                <c:pt idx="41">
                  <c:v>0.7415234614051156</c:v>
                </c:pt>
                <c:pt idx="42">
                  <c:v>0.76839831466678499</c:v>
                </c:pt>
                <c:pt idx="43">
                  <c:v>0.77260270646915674</c:v>
                </c:pt>
                <c:pt idx="44">
                  <c:v>0.78323021804464599</c:v>
                </c:pt>
                <c:pt idx="45">
                  <c:v>0.79815715900972406</c:v>
                </c:pt>
                <c:pt idx="46">
                  <c:v>0.82576051534649597</c:v>
                </c:pt>
                <c:pt idx="47">
                  <c:v>0.81996120926891636</c:v>
                </c:pt>
                <c:pt idx="48">
                  <c:v>0.81822714338625535</c:v>
                </c:pt>
                <c:pt idx="49">
                  <c:v>0.78837024157014923</c:v>
                </c:pt>
                <c:pt idx="50">
                  <c:v>0.77225263655287502</c:v>
                </c:pt>
                <c:pt idx="51">
                  <c:v>0.78258064649836601</c:v>
                </c:pt>
                <c:pt idx="52">
                  <c:v>0.76242391441761481</c:v>
                </c:pt>
                <c:pt idx="53">
                  <c:v>0.76838635354988871</c:v>
                </c:pt>
                <c:pt idx="54">
                  <c:v>0.74171460242165033</c:v>
                </c:pt>
                <c:pt idx="55">
                  <c:v>0.79804518637581179</c:v>
                </c:pt>
                <c:pt idx="56">
                  <c:v>0.79554365496796176</c:v>
                </c:pt>
                <c:pt idx="57">
                  <c:v>0.80073252958969898</c:v>
                </c:pt>
                <c:pt idx="58">
                  <c:v>0.87064786323824528</c:v>
                </c:pt>
                <c:pt idx="59">
                  <c:v>0.87351592590147065</c:v>
                </c:pt>
                <c:pt idx="60">
                  <c:v>0.84593891954994005</c:v>
                </c:pt>
                <c:pt idx="61">
                  <c:v>0.86215150294098186</c:v>
                </c:pt>
                <c:pt idx="62">
                  <c:v>0.84542121635676604</c:v>
                </c:pt>
                <c:pt idx="63">
                  <c:v>0.82580806374682969</c:v>
                </c:pt>
                <c:pt idx="64">
                  <c:v>0.83517876984649631</c:v>
                </c:pt>
                <c:pt idx="65">
                  <c:v>0.79837690012259932</c:v>
                </c:pt>
                <c:pt idx="66">
                  <c:v>0.80018332484113608</c:v>
                </c:pt>
                <c:pt idx="67">
                  <c:v>0.75751843536748131</c:v>
                </c:pt>
                <c:pt idx="68">
                  <c:v>0.7535263829967378</c:v>
                </c:pt>
                <c:pt idx="69">
                  <c:v>0.72104366074127357</c:v>
                </c:pt>
                <c:pt idx="70">
                  <c:v>0.69182099418790211</c:v>
                </c:pt>
                <c:pt idx="71">
                  <c:v>0.76042581576149382</c:v>
                </c:pt>
                <c:pt idx="72">
                  <c:v>0.80694579689608825</c:v>
                </c:pt>
                <c:pt idx="73">
                  <c:v>0.82690167695450811</c:v>
                </c:pt>
                <c:pt idx="74">
                  <c:v>0.79456799495264363</c:v>
                </c:pt>
                <c:pt idx="75">
                  <c:v>0.8552728540971688</c:v>
                </c:pt>
                <c:pt idx="76">
                  <c:v>0.85020447884614092</c:v>
                </c:pt>
                <c:pt idx="77">
                  <c:v>0.89464731136889153</c:v>
                </c:pt>
                <c:pt idx="78">
                  <c:v>0.86776748417742411</c:v>
                </c:pt>
                <c:pt idx="79">
                  <c:v>0.87358556091864714</c:v>
                </c:pt>
                <c:pt idx="80">
                  <c:v>0.94426652447543313</c:v>
                </c:pt>
                <c:pt idx="81">
                  <c:v>0.92112496080809603</c:v>
                </c:pt>
                <c:pt idx="82">
                  <c:v>0.98127019363686152</c:v>
                </c:pt>
                <c:pt idx="83">
                  <c:v>0.9738763285647738</c:v>
                </c:pt>
                <c:pt idx="84">
                  <c:v>0.94978018487031046</c:v>
                </c:pt>
                <c:pt idx="85">
                  <c:v>0.9465428671330105</c:v>
                </c:pt>
                <c:pt idx="86">
                  <c:v>0.93947366940716193</c:v>
                </c:pt>
                <c:pt idx="87">
                  <c:v>1.0035246806100506</c:v>
                </c:pt>
                <c:pt idx="88">
                  <c:v>1.0001865223674349</c:v>
                </c:pt>
                <c:pt idx="89">
                  <c:v>0.98170268867551513</c:v>
                </c:pt>
                <c:pt idx="90">
                  <c:v>0.97483813263279728</c:v>
                </c:pt>
                <c:pt idx="91">
                  <c:v>1.0018219978558793</c:v>
                </c:pt>
                <c:pt idx="92">
                  <c:v>0.98860419391101972</c:v>
                </c:pt>
                <c:pt idx="93">
                  <c:v>0.9742920069836325</c:v>
                </c:pt>
                <c:pt idx="94">
                  <c:v>0.94955043668438854</c:v>
                </c:pt>
                <c:pt idx="95">
                  <c:v>0.93621923898281767</c:v>
                </c:pt>
                <c:pt idx="96">
                  <c:v>0.92722039334902506</c:v>
                </c:pt>
                <c:pt idx="97">
                  <c:v>0.90906093093609486</c:v>
                </c:pt>
                <c:pt idx="98">
                  <c:v>0.85522785187518457</c:v>
                </c:pt>
                <c:pt idx="99">
                  <c:v>0.86893878543147607</c:v>
                </c:pt>
                <c:pt idx="100">
                  <c:v>0.87685520919963644</c:v>
                </c:pt>
                <c:pt idx="101">
                  <c:v>0.89421457947643845</c:v>
                </c:pt>
                <c:pt idx="102">
                  <c:v>0.9567582530966392</c:v>
                </c:pt>
                <c:pt idx="103">
                  <c:v>0.96423436565074927</c:v>
                </c:pt>
                <c:pt idx="104">
                  <c:v>0.95792067233319433</c:v>
                </c:pt>
                <c:pt idx="105">
                  <c:v>0.95075063410203042</c:v>
                </c:pt>
                <c:pt idx="106">
                  <c:v>0.93828134737836688</c:v>
                </c:pt>
                <c:pt idx="107">
                  <c:v>0.94022343011080678</c:v>
                </c:pt>
                <c:pt idx="108">
                  <c:v>0.92073367833062858</c:v>
                </c:pt>
                <c:pt idx="109">
                  <c:v>0.91718069369148592</c:v>
                </c:pt>
                <c:pt idx="110">
                  <c:v>0.89625815406214415</c:v>
                </c:pt>
                <c:pt idx="111">
                  <c:v>0.89326544708671074</c:v>
                </c:pt>
                <c:pt idx="112">
                  <c:v>0.84310152945380423</c:v>
                </c:pt>
                <c:pt idx="113">
                  <c:v>0.87600999641462374</c:v>
                </c:pt>
                <c:pt idx="114">
                  <c:v>0.86218335977707161</c:v>
                </c:pt>
                <c:pt idx="115">
                  <c:v>0.89089720515476567</c:v>
                </c:pt>
                <c:pt idx="116">
                  <c:v>0.88705478517212133</c:v>
                </c:pt>
                <c:pt idx="117">
                  <c:v>0.85319564627187505</c:v>
                </c:pt>
                <c:pt idx="118">
                  <c:v>0.82104303900004894</c:v>
                </c:pt>
                <c:pt idx="119">
                  <c:v>0.87521298337789499</c:v>
                </c:pt>
                <c:pt idx="120">
                  <c:v>0.72056491999818673</c:v>
                </c:pt>
                <c:pt idx="121">
                  <c:v>0.73478396416875569</c:v>
                </c:pt>
                <c:pt idx="122">
                  <c:v>0.74490194400716825</c:v>
                </c:pt>
                <c:pt idx="123">
                  <c:v>0.85664405995835335</c:v>
                </c:pt>
                <c:pt idx="124">
                  <c:v>0.93742737100275741</c:v>
                </c:pt>
                <c:pt idx="125">
                  <c:v>0.94135795981242198</c:v>
                </c:pt>
                <c:pt idx="126">
                  <c:v>0.93316489080595555</c:v>
                </c:pt>
                <c:pt idx="127">
                  <c:v>0.95338729060273453</c:v>
                </c:pt>
                <c:pt idx="128">
                  <c:v>1.0100810898590731</c:v>
                </c:pt>
                <c:pt idx="129">
                  <c:v>1.0164770306586499</c:v>
                </c:pt>
                <c:pt idx="130">
                  <c:v>1.0481681283013327</c:v>
                </c:pt>
                <c:pt idx="131">
                  <c:v>1.045015545010954</c:v>
                </c:pt>
                <c:pt idx="132">
                  <c:v>1.0140646154930191</c:v>
                </c:pt>
                <c:pt idx="133">
                  <c:v>1.0141319411856462</c:v>
                </c:pt>
                <c:pt idx="134">
                  <c:v>1.0191345895071966</c:v>
                </c:pt>
                <c:pt idx="135">
                  <c:v>1.0028087307863429</c:v>
                </c:pt>
                <c:pt idx="136">
                  <c:v>1.0081328489278341</c:v>
                </c:pt>
                <c:pt idx="137">
                  <c:v>0.9890212342392275</c:v>
                </c:pt>
                <c:pt idx="138">
                  <c:v>0.94887617312946637</c:v>
                </c:pt>
                <c:pt idx="139">
                  <c:v>0.96793514706104111</c:v>
                </c:pt>
                <c:pt idx="140">
                  <c:v>0.95627856493835117</c:v>
                </c:pt>
                <c:pt idx="141">
                  <c:v>0.96589435550748437</c:v>
                </c:pt>
                <c:pt idx="142">
                  <c:v>1.0166620726898361</c:v>
                </c:pt>
                <c:pt idx="143">
                  <c:v>1.0235444519809977</c:v>
                </c:pt>
                <c:pt idx="144">
                  <c:v>1.0466863709290353</c:v>
                </c:pt>
                <c:pt idx="145">
                  <c:v>1.0126623225705949</c:v>
                </c:pt>
                <c:pt idx="146">
                  <c:v>1.024584832297144</c:v>
                </c:pt>
                <c:pt idx="147">
                  <c:v>1.0398224070208171</c:v>
                </c:pt>
                <c:pt idx="148">
                  <c:v>1.0159879275618149</c:v>
                </c:pt>
                <c:pt idx="149">
                  <c:v>1.0406773900250768</c:v>
                </c:pt>
                <c:pt idx="150">
                  <c:v>1.0339422153705651</c:v>
                </c:pt>
                <c:pt idx="151">
                  <c:v>1.0335317477353043</c:v>
                </c:pt>
                <c:pt idx="152">
                  <c:v>1.0357344288611059</c:v>
                </c:pt>
                <c:pt idx="153">
                  <c:v>1.0681363839707974</c:v>
                </c:pt>
                <c:pt idx="154">
                  <c:v>1.0746467251557354</c:v>
                </c:pt>
                <c:pt idx="155">
                  <c:v>1.0683365846451789</c:v>
                </c:pt>
                <c:pt idx="156">
                  <c:v>1.060570622253417</c:v>
                </c:pt>
                <c:pt idx="157">
                  <c:v>1.0499222675435349</c:v>
                </c:pt>
                <c:pt idx="158">
                  <c:v>1.0249315862602253</c:v>
                </c:pt>
                <c:pt idx="159">
                  <c:v>1.0311002066253292</c:v>
                </c:pt>
                <c:pt idx="160">
                  <c:v>1.0351135758380661</c:v>
                </c:pt>
                <c:pt idx="161">
                  <c:v>1.0137783184623648</c:v>
                </c:pt>
                <c:pt idx="162">
                  <c:v>1.0329408567179543</c:v>
                </c:pt>
                <c:pt idx="163">
                  <c:v>1.0209076770533927</c:v>
                </c:pt>
                <c:pt idx="164">
                  <c:v>1.0111256151167165</c:v>
                </c:pt>
                <c:pt idx="165">
                  <c:v>0.9973244994761048</c:v>
                </c:pt>
                <c:pt idx="166">
                  <c:v>1.0100194486576419</c:v>
                </c:pt>
                <c:pt idx="167">
                  <c:v>1.0186229260859188</c:v>
                </c:pt>
                <c:pt idx="168">
                  <c:v>0.99391392318416361</c:v>
                </c:pt>
                <c:pt idx="169">
                  <c:v>1.002000822474816</c:v>
                </c:pt>
                <c:pt idx="170">
                  <c:v>0.98880806581929837</c:v>
                </c:pt>
                <c:pt idx="171">
                  <c:v>1.0071027717519829</c:v>
                </c:pt>
                <c:pt idx="172">
                  <c:v>1.00943566325429</c:v>
                </c:pt>
                <c:pt idx="173">
                  <c:v>1.009189335302374</c:v>
                </c:pt>
                <c:pt idx="174">
                  <c:v>0.99689354398715135</c:v>
                </c:pt>
                <c:pt idx="175">
                  <c:v>0.96877615569110453</c:v>
                </c:pt>
                <c:pt idx="176">
                  <c:v>0.94863914168919616</c:v>
                </c:pt>
                <c:pt idx="177">
                  <c:v>0.94777267127564024</c:v>
                </c:pt>
                <c:pt idx="178">
                  <c:v>0.91103641005432179</c:v>
                </c:pt>
                <c:pt idx="179">
                  <c:v>0.90149783382396276</c:v>
                </c:pt>
                <c:pt idx="180">
                  <c:v>0.90182469206785165</c:v>
                </c:pt>
                <c:pt idx="181">
                  <c:v>0.96832737695370708</c:v>
                </c:pt>
                <c:pt idx="182">
                  <c:v>0.96326314664417745</c:v>
                </c:pt>
                <c:pt idx="183">
                  <c:v>0.97671892944450578</c:v>
                </c:pt>
                <c:pt idx="184">
                  <c:v>0.95962513149086348</c:v>
                </c:pt>
                <c:pt idx="185">
                  <c:v>0.93528200849653431</c:v>
                </c:pt>
                <c:pt idx="186">
                  <c:v>0.93629461770464029</c:v>
                </c:pt>
                <c:pt idx="187">
                  <c:v>0.93877731923539698</c:v>
                </c:pt>
                <c:pt idx="188">
                  <c:v>0.95955780579823724</c:v>
                </c:pt>
                <c:pt idx="189">
                  <c:v>0.97169656304411323</c:v>
                </c:pt>
                <c:pt idx="190">
                  <c:v>0.96863345127665346</c:v>
                </c:pt>
                <c:pt idx="191">
                  <c:v>0.95009638469320135</c:v>
                </c:pt>
                <c:pt idx="192">
                  <c:v>0.93741908111975847</c:v>
                </c:pt>
                <c:pt idx="193">
                  <c:v>0.92163514389312118</c:v>
                </c:pt>
                <c:pt idx="194">
                  <c:v>0.91869549216887014</c:v>
                </c:pt>
                <c:pt idx="195">
                  <c:v>1.0096559372882163</c:v>
                </c:pt>
                <c:pt idx="196">
                  <c:v>1.0104894258101331</c:v>
                </c:pt>
                <c:pt idx="197">
                  <c:v>1.0020434561588027</c:v>
                </c:pt>
                <c:pt idx="198">
                  <c:v>1.0021689886727603</c:v>
                </c:pt>
                <c:pt idx="199">
                  <c:v>1.0096879125512057</c:v>
                </c:pt>
                <c:pt idx="200">
                  <c:v>0.99185459782076424</c:v>
                </c:pt>
                <c:pt idx="201">
                  <c:v>0.9964901227524392</c:v>
                </c:pt>
                <c:pt idx="202">
                  <c:v>0.98662308951504185</c:v>
                </c:pt>
                <c:pt idx="203">
                  <c:v>0.9740086706254778</c:v>
                </c:pt>
                <c:pt idx="204">
                  <c:v>0.96851857718369327</c:v>
                </c:pt>
                <c:pt idx="205">
                  <c:v>0.95448795021096022</c:v>
                </c:pt>
                <c:pt idx="206">
                  <c:v>0.94374485398110997</c:v>
                </c:pt>
                <c:pt idx="207">
                  <c:v>0.93599825438749162</c:v>
                </c:pt>
                <c:pt idx="208">
                  <c:v>0.97166192317587496</c:v>
                </c:pt>
                <c:pt idx="209">
                  <c:v>0.97384577442458298</c:v>
                </c:pt>
                <c:pt idx="210">
                  <c:v>0.97592002157737801</c:v>
                </c:pt>
                <c:pt idx="211">
                  <c:v>0.97047984507392626</c:v>
                </c:pt>
                <c:pt idx="212">
                  <c:v>0.96486599552168362</c:v>
                </c:pt>
                <c:pt idx="213">
                  <c:v>0.96457792208753168</c:v>
                </c:pt>
                <c:pt idx="214">
                  <c:v>0.95608244999201797</c:v>
                </c:pt>
                <c:pt idx="215">
                  <c:v>0.95209543076452285</c:v>
                </c:pt>
                <c:pt idx="216">
                  <c:v>0.92979049393195101</c:v>
                </c:pt>
                <c:pt idx="217">
                  <c:v>0.94004578976086695</c:v>
                </c:pt>
                <c:pt idx="218">
                  <c:v>0.94413145859602876</c:v>
                </c:pt>
                <c:pt idx="219">
                  <c:v>0.94158533946034395</c:v>
                </c:pt>
                <c:pt idx="220">
                  <c:v>0.95248505526539073</c:v>
                </c:pt>
                <c:pt idx="221">
                  <c:v>0.95366488325623977</c:v>
                </c:pt>
                <c:pt idx="222">
                  <c:v>0.9552180520492124</c:v>
                </c:pt>
                <c:pt idx="223">
                  <c:v>0.92283243985171537</c:v>
                </c:pt>
                <c:pt idx="224">
                  <c:v>0.89309248459931956</c:v>
                </c:pt>
                <c:pt idx="225">
                  <c:v>0.86431415577459747</c:v>
                </c:pt>
                <c:pt idx="226">
                  <c:v>0.86463153986648944</c:v>
                </c:pt>
                <c:pt idx="227">
                  <c:v>0.85055946347877032</c:v>
                </c:pt>
                <c:pt idx="228">
                  <c:v>0.87182242123204645</c:v>
                </c:pt>
                <c:pt idx="229">
                  <c:v>0.88441131912466919</c:v>
                </c:pt>
                <c:pt idx="230">
                  <c:v>0.88268737874195469</c:v>
                </c:pt>
                <c:pt idx="231">
                  <c:v>0.8715074056781531</c:v>
                </c:pt>
                <c:pt idx="232">
                  <c:v>0.87340543360380818</c:v>
                </c:pt>
                <c:pt idx="233">
                  <c:v>0.8689985318025053</c:v>
                </c:pt>
                <c:pt idx="234">
                  <c:v>0.8764591304327205</c:v>
                </c:pt>
                <c:pt idx="235">
                  <c:v>0.8997275885233651</c:v>
                </c:pt>
                <c:pt idx="236">
                  <c:v>0.90961866242145484</c:v>
                </c:pt>
                <c:pt idx="237">
                  <c:v>0.88575445781056295</c:v>
                </c:pt>
                <c:pt idx="238">
                  <c:v>0.91212072675035483</c:v>
                </c:pt>
                <c:pt idx="239">
                  <c:v>0.8811175117560881</c:v>
                </c:pt>
                <c:pt idx="240">
                  <c:v>0.89236640927566646</c:v>
                </c:pt>
                <c:pt idx="241">
                  <c:v>0.8790947803047755</c:v>
                </c:pt>
                <c:pt idx="242">
                  <c:v>0.87302261864968833</c:v>
                </c:pt>
                <c:pt idx="243">
                  <c:v>0.86853489048916321</c:v>
                </c:pt>
                <c:pt idx="244">
                  <c:v>0.87144819222817382</c:v>
                </c:pt>
                <c:pt idx="245">
                  <c:v>0.87571416601852436</c:v>
                </c:pt>
                <c:pt idx="246">
                  <c:v>0.86633830834870951</c:v>
                </c:pt>
                <c:pt idx="247">
                  <c:v>0.84510531260112343</c:v>
                </c:pt>
                <c:pt idx="248">
                  <c:v>0.84865302724321756</c:v>
                </c:pt>
                <c:pt idx="249">
                  <c:v>0.85626355432878198</c:v>
                </c:pt>
                <c:pt idx="250">
                  <c:v>0.86884753750505639</c:v>
                </c:pt>
                <c:pt idx="251">
                  <c:v>0.87325159706076017</c:v>
                </c:pt>
                <c:pt idx="252">
                  <c:v>0.87267130525095737</c:v>
                </c:pt>
                <c:pt idx="253">
                  <c:v>0.84572823809491138</c:v>
                </c:pt>
                <c:pt idx="254">
                  <c:v>0.87113376880877968</c:v>
                </c:pt>
                <c:pt idx="255">
                  <c:v>0.85209996059344673</c:v>
                </c:pt>
                <c:pt idx="256">
                  <c:v>0.83319535612596951</c:v>
                </c:pt>
                <c:pt idx="257">
                  <c:v>0.84471243136050678</c:v>
                </c:pt>
                <c:pt idx="258">
                  <c:v>0.81241475113623007</c:v>
                </c:pt>
                <c:pt idx="259">
                  <c:v>0.81756365667923059</c:v>
                </c:pt>
                <c:pt idx="260">
                  <c:v>0.8221979381284561</c:v>
                </c:pt>
                <c:pt idx="261">
                  <c:v>0.81113052983306599</c:v>
                </c:pt>
                <c:pt idx="262">
                  <c:v>0.80140655629081969</c:v>
                </c:pt>
                <c:pt idx="263">
                  <c:v>0.78514873382399331</c:v>
                </c:pt>
                <c:pt idx="264">
                  <c:v>0.77697686323261994</c:v>
                </c:pt>
                <c:pt idx="265">
                  <c:v>0.77111526460566138</c:v>
                </c:pt>
                <c:pt idx="266">
                  <c:v>0.74901905518426859</c:v>
                </c:pt>
                <c:pt idx="267">
                  <c:v>0.77584837330290335</c:v>
                </c:pt>
                <c:pt idx="268">
                  <c:v>0.78141118086126338</c:v>
                </c:pt>
                <c:pt idx="269">
                  <c:v>0.78686177893191145</c:v>
                </c:pt>
                <c:pt idx="270">
                  <c:v>0.80512131207530779</c:v>
                </c:pt>
                <c:pt idx="271">
                  <c:v>0.78490181373757739</c:v>
                </c:pt>
                <c:pt idx="272">
                  <c:v>0.78336522471059955</c:v>
                </c:pt>
                <c:pt idx="273">
                  <c:v>0.80494675082476741</c:v>
                </c:pt>
                <c:pt idx="274">
                  <c:v>0.81449296559017381</c:v>
                </c:pt>
                <c:pt idx="275">
                  <c:v>0.81219329283330532</c:v>
                </c:pt>
                <c:pt idx="276">
                  <c:v>0.78049739890117409</c:v>
                </c:pt>
                <c:pt idx="277">
                  <c:v>0.78437315605615732</c:v>
                </c:pt>
                <c:pt idx="278">
                  <c:v>0.76352161335334134</c:v>
                </c:pt>
                <c:pt idx="279">
                  <c:v>0.76107757820542177</c:v>
                </c:pt>
                <c:pt idx="280">
                  <c:v>0.78235800392644173</c:v>
                </c:pt>
                <c:pt idx="281">
                  <c:v>0.77817990289586136</c:v>
                </c:pt>
                <c:pt idx="282">
                  <c:v>0.76636024693192728</c:v>
                </c:pt>
                <c:pt idx="283">
                  <c:v>0.75633434400823352</c:v>
                </c:pt>
                <c:pt idx="284">
                  <c:v>0.70944552229371416</c:v>
                </c:pt>
                <c:pt idx="285">
                  <c:v>0.70690017293287855</c:v>
                </c:pt>
                <c:pt idx="286">
                  <c:v>0.69542365891157809</c:v>
                </c:pt>
                <c:pt idx="287">
                  <c:v>0.65725828107499451</c:v>
                </c:pt>
                <c:pt idx="288">
                  <c:v>0.6590551724280842</c:v>
                </c:pt>
                <c:pt idx="289">
                  <c:v>0.64148802215530254</c:v>
                </c:pt>
                <c:pt idx="290">
                  <c:v>0.68637643588915176</c:v>
                </c:pt>
                <c:pt idx="291">
                  <c:v>0.72849034421074332</c:v>
                </c:pt>
                <c:pt idx="292">
                  <c:v>0.75370905648992537</c:v>
                </c:pt>
                <c:pt idx="293">
                  <c:v>0.73873397499001325</c:v>
                </c:pt>
                <c:pt idx="294">
                  <c:v>0.74661948933728417</c:v>
                </c:pt>
                <c:pt idx="295">
                  <c:v>0.74483094708064157</c:v>
                </c:pt>
                <c:pt idx="296">
                  <c:v>0.7197877434672002</c:v>
                </c:pt>
                <c:pt idx="297">
                  <c:v>0.72327695522071478</c:v>
                </c:pt>
                <c:pt idx="298">
                  <c:v>0.75924344159229529</c:v>
                </c:pt>
                <c:pt idx="299">
                  <c:v>0.75574250557568456</c:v>
                </c:pt>
                <c:pt idx="300">
                  <c:v>0.71363428174529075</c:v>
                </c:pt>
                <c:pt idx="301">
                  <c:v>0.7655461212081538</c:v>
                </c:pt>
                <c:pt idx="302">
                  <c:v>0.77728045059066719</c:v>
                </c:pt>
                <c:pt idx="303">
                  <c:v>0.78613611810240847</c:v>
                </c:pt>
                <c:pt idx="304">
                  <c:v>0.75946371562622028</c:v>
                </c:pt>
                <c:pt idx="305">
                  <c:v>0.75784274743302094</c:v>
                </c:pt>
                <c:pt idx="306">
                  <c:v>0.73762105819764123</c:v>
                </c:pt>
                <c:pt idx="307">
                  <c:v>0.73205736243753172</c:v>
                </c:pt>
                <c:pt idx="308">
                  <c:v>0.69690944279847322</c:v>
                </c:pt>
                <c:pt idx="309">
                  <c:v>0.67019588697454902</c:v>
                </c:pt>
                <c:pt idx="310">
                  <c:v>0.66069070712997835</c:v>
                </c:pt>
                <c:pt idx="311">
                  <c:v>0.63169867696427873</c:v>
                </c:pt>
                <c:pt idx="312">
                  <c:v>0.62465458574122179</c:v>
                </c:pt>
                <c:pt idx="313">
                  <c:v>0.59537537034311949</c:v>
                </c:pt>
                <c:pt idx="314">
                  <c:v>0.59401423076843218</c:v>
                </c:pt>
                <c:pt idx="315">
                  <c:v>0.71050070597235582</c:v>
                </c:pt>
                <c:pt idx="316">
                  <c:v>0.71939113177923542</c:v>
                </c:pt>
                <c:pt idx="317">
                  <c:v>0.71137842694140763</c:v>
                </c:pt>
                <c:pt idx="318">
                  <c:v>0.70089302764587003</c:v>
                </c:pt>
                <c:pt idx="319">
                  <c:v>0.69008065167954369</c:v>
                </c:pt>
                <c:pt idx="320">
                  <c:v>0.72619878369652224</c:v>
                </c:pt>
                <c:pt idx="321">
                  <c:v>0.71369023845552171</c:v>
                </c:pt>
                <c:pt idx="322">
                  <c:v>0.71801512962860259</c:v>
                </c:pt>
                <c:pt idx="323">
                  <c:v>0.71244942061119332</c:v>
                </c:pt>
                <c:pt idx="324">
                  <c:v>0.76866370934959471</c:v>
                </c:pt>
                <c:pt idx="325">
                  <c:v>0.75160443283729084</c:v>
                </c:pt>
                <c:pt idx="326">
                  <c:v>0.72108185341651088</c:v>
                </c:pt>
                <c:pt idx="327">
                  <c:v>0.75699937026495845</c:v>
                </c:pt>
                <c:pt idx="328">
                  <c:v>0.74653220871201476</c:v>
                </c:pt>
                <c:pt idx="329">
                  <c:v>0.75126810044140568</c:v>
                </c:pt>
                <c:pt idx="330">
                  <c:v>0.74622767393876788</c:v>
                </c:pt>
                <c:pt idx="331">
                  <c:v>0.72042369591998501</c:v>
                </c:pt>
                <c:pt idx="332">
                  <c:v>0.70956454132817437</c:v>
                </c:pt>
                <c:pt idx="333">
                  <c:v>0.69368823111956823</c:v>
                </c:pt>
                <c:pt idx="334">
                  <c:v>0.7787800904248583</c:v>
                </c:pt>
                <c:pt idx="335">
                  <c:v>0.77478105086701721</c:v>
                </c:pt>
                <c:pt idx="336">
                  <c:v>0.78100533187510268</c:v>
                </c:pt>
                <c:pt idx="337">
                  <c:v>0.75737762578343015</c:v>
                </c:pt>
                <c:pt idx="338">
                  <c:v>0.74013549813758805</c:v>
                </c:pt>
                <c:pt idx="339">
                  <c:v>0.72527718556103604</c:v>
                </c:pt>
                <c:pt idx="340">
                  <c:v>0.72349184083069251</c:v>
                </c:pt>
                <c:pt idx="341">
                  <c:v>0.72451386497734527</c:v>
                </c:pt>
                <c:pt idx="342">
                  <c:v>0.69687273045948639</c:v>
                </c:pt>
                <c:pt idx="343">
                  <c:v>0.67306122581907646</c:v>
                </c:pt>
                <c:pt idx="344">
                  <c:v>0.65990103656104759</c:v>
                </c:pt>
                <c:pt idx="345">
                  <c:v>0.65291669170902034</c:v>
                </c:pt>
                <c:pt idx="346">
                  <c:v>0.68364414966673048</c:v>
                </c:pt>
                <c:pt idx="347">
                  <c:v>0.74194482431517272</c:v>
                </c:pt>
                <c:pt idx="348">
                  <c:v>0.77882651376964218</c:v>
                </c:pt>
                <c:pt idx="349">
                  <c:v>0.76168066719346728</c:v>
                </c:pt>
                <c:pt idx="350">
                  <c:v>0.76070293470739947</c:v>
                </c:pt>
                <c:pt idx="351">
                  <c:v>0.75762886845169364</c:v>
                </c:pt>
                <c:pt idx="352">
                  <c:v>0.73289683151789631</c:v>
                </c:pt>
                <c:pt idx="353">
                  <c:v>0.70848211946254125</c:v>
                </c:pt>
                <c:pt idx="354">
                  <c:v>0.67930161288555535</c:v>
                </c:pt>
                <c:pt idx="355">
                  <c:v>0.68248208571087488</c:v>
                </c:pt>
                <c:pt idx="356">
                  <c:v>0.71021648141245231</c:v>
                </c:pt>
                <c:pt idx="357">
                  <c:v>0.68368850054076535</c:v>
                </c:pt>
                <c:pt idx="358">
                  <c:v>0.65619611020925595</c:v>
                </c:pt>
                <c:pt idx="359">
                  <c:v>0.65122247647819531</c:v>
                </c:pt>
                <c:pt idx="360">
                  <c:v>0.64013748178816177</c:v>
                </c:pt>
                <c:pt idx="361">
                  <c:v>0.61325860201189375</c:v>
                </c:pt>
                <c:pt idx="362">
                  <c:v>0.58468455958960197</c:v>
                </c:pt>
                <c:pt idx="363">
                  <c:v>0.58332608462016355</c:v>
                </c:pt>
                <c:pt idx="364">
                  <c:v>0.58745515691416039</c:v>
                </c:pt>
                <c:pt idx="365">
                  <c:v>0.56954196323969652</c:v>
                </c:pt>
                <c:pt idx="366">
                  <c:v>0.57470815911009132</c:v>
                </c:pt>
                <c:pt idx="367">
                  <c:v>0.58503166883338364</c:v>
                </c:pt>
                <c:pt idx="368">
                  <c:v>0.60467774412150899</c:v>
                </c:pt>
                <c:pt idx="369">
                  <c:v>0.60424039357995762</c:v>
                </c:pt>
                <c:pt idx="370">
                  <c:v>0.60262256369960743</c:v>
                </c:pt>
                <c:pt idx="371">
                  <c:v>0.59833894430116263</c:v>
                </c:pt>
                <c:pt idx="372">
                  <c:v>0.59692084138759482</c:v>
                </c:pt>
                <c:pt idx="373">
                  <c:v>0.59925438423785171</c:v>
                </c:pt>
                <c:pt idx="374">
                  <c:v>0.61807905054785595</c:v>
                </c:pt>
                <c:pt idx="375">
                  <c:v>0.603888665687077</c:v>
                </c:pt>
                <c:pt idx="376">
                  <c:v>0.6362041099463478</c:v>
                </c:pt>
                <c:pt idx="377">
                  <c:v>0.62181678115093586</c:v>
                </c:pt>
                <c:pt idx="378">
                  <c:v>0.63059037882100477</c:v>
                </c:pt>
                <c:pt idx="379">
                  <c:v>0.65047514352599878</c:v>
                </c:pt>
                <c:pt idx="380">
                  <c:v>0.74416177588241861</c:v>
                </c:pt>
                <c:pt idx="381">
                  <c:v>0.72167842892505751</c:v>
                </c:pt>
                <c:pt idx="382">
                  <c:v>0.69970905471352185</c:v>
                </c:pt>
                <c:pt idx="383">
                  <c:v>0.68430337300535582</c:v>
                </c:pt>
                <c:pt idx="384">
                  <c:v>0.65519783065604464</c:v>
                </c:pt>
                <c:pt idx="385">
                  <c:v>0.6353053089891032</c:v>
                </c:pt>
                <c:pt idx="386">
                  <c:v>0.60248293838455447</c:v>
                </c:pt>
                <c:pt idx="387">
                  <c:v>0.59204816658874981</c:v>
                </c:pt>
                <c:pt idx="388">
                  <c:v>0.59127856937936096</c:v>
                </c:pt>
                <c:pt idx="389">
                  <c:v>0.58816559988701878</c:v>
                </c:pt>
                <c:pt idx="390">
                  <c:v>0.57099796276125137</c:v>
                </c:pt>
                <c:pt idx="391">
                  <c:v>0.5614041995955108</c:v>
                </c:pt>
                <c:pt idx="392">
                  <c:v>0.55234217321058976</c:v>
                </c:pt>
                <c:pt idx="393">
                  <c:v>0.52360422795875383</c:v>
                </c:pt>
                <c:pt idx="394">
                  <c:v>0.50489177113646133</c:v>
                </c:pt>
                <c:pt idx="395">
                  <c:v>0.50825468060116852</c:v>
                </c:pt>
                <c:pt idx="396">
                  <c:v>0.501572561197839</c:v>
                </c:pt>
                <c:pt idx="397">
                  <c:v>0.4808943362631144</c:v>
                </c:pt>
                <c:pt idx="398">
                  <c:v>0.46010325049272804</c:v>
                </c:pt>
                <c:pt idx="399">
                  <c:v>0.46123381289319387</c:v>
                </c:pt>
                <c:pt idx="400">
                  <c:v>0.456466123541164</c:v>
                </c:pt>
                <c:pt idx="401">
                  <c:v>0.45411061250096418</c:v>
                </c:pt>
                <c:pt idx="402">
                  <c:v>0.44079113906248946</c:v>
                </c:pt>
                <c:pt idx="403">
                  <c:v>0.42705148698295758</c:v>
                </c:pt>
                <c:pt idx="404">
                  <c:v>0.4117372900550107</c:v>
                </c:pt>
                <c:pt idx="405">
                  <c:v>0.54408550895884522</c:v>
                </c:pt>
                <c:pt idx="406">
                  <c:v>0.65405104377028445</c:v>
                </c:pt>
                <c:pt idx="407">
                  <c:v>0.64768885463719594</c:v>
                </c:pt>
                <c:pt idx="408">
                  <c:v>0.64014855470330789</c:v>
                </c:pt>
                <c:pt idx="409">
                  <c:v>0.67160102214257189</c:v>
                </c:pt>
                <c:pt idx="410">
                  <c:v>0.67699578192988907</c:v>
                </c:pt>
                <c:pt idx="411">
                  <c:v>0.66496023372732838</c:v>
                </c:pt>
                <c:pt idx="412">
                  <c:v>0.66342323020620042</c:v>
                </c:pt>
                <c:pt idx="413">
                  <c:v>0.66544720513996269</c:v>
                </c:pt>
                <c:pt idx="414">
                  <c:v>0.66378816269842633</c:v>
                </c:pt>
                <c:pt idx="415">
                  <c:v>0.67022821751823836</c:v>
                </c:pt>
                <c:pt idx="416">
                  <c:v>0.66224257322705182</c:v>
                </c:pt>
                <c:pt idx="417">
                  <c:v>0.63576770681999673</c:v>
                </c:pt>
                <c:pt idx="418">
                  <c:v>0.65296122022340541</c:v>
                </c:pt>
                <c:pt idx="419">
                  <c:v>0.65445268860149852</c:v>
                </c:pt>
                <c:pt idx="420">
                  <c:v>0.6362788965336732</c:v>
                </c:pt>
                <c:pt idx="421">
                  <c:v>0.62876092007042761</c:v>
                </c:pt>
                <c:pt idx="422">
                  <c:v>0.61620198418349448</c:v>
                </c:pt>
                <c:pt idx="423">
                  <c:v>0.6072093559619498</c:v>
                </c:pt>
                <c:pt idx="424">
                  <c:v>0.59546010479004163</c:v>
                </c:pt>
                <c:pt idx="425">
                  <c:v>0.58813705900412971</c:v>
                </c:pt>
                <c:pt idx="426">
                  <c:v>0.56997617546840007</c:v>
                </c:pt>
                <c:pt idx="427">
                  <c:v>0.5499071385070684</c:v>
                </c:pt>
                <c:pt idx="428">
                  <c:v>0.55948473640096452</c:v>
                </c:pt>
                <c:pt idx="429">
                  <c:v>0.56667893371972022</c:v>
                </c:pt>
                <c:pt idx="430">
                  <c:v>0.56283645452362574</c:v>
                </c:pt>
                <c:pt idx="431">
                  <c:v>0.56120920970472898</c:v>
                </c:pt>
                <c:pt idx="432">
                  <c:v>0.5503830370045566</c:v>
                </c:pt>
                <c:pt idx="433">
                  <c:v>0.55265908359488369</c:v>
                </c:pt>
                <c:pt idx="434">
                  <c:v>0.53189221612553927</c:v>
                </c:pt>
                <c:pt idx="435">
                  <c:v>0.52933046463905931</c:v>
                </c:pt>
                <c:pt idx="436">
                  <c:v>0.52567835668465013</c:v>
                </c:pt>
                <c:pt idx="437">
                  <c:v>0.53548173546331967</c:v>
                </c:pt>
                <c:pt idx="438">
                  <c:v>0.54691342490298567</c:v>
                </c:pt>
                <c:pt idx="439">
                  <c:v>0.5455752601468904</c:v>
                </c:pt>
                <c:pt idx="440">
                  <c:v>0.53953785678694155</c:v>
                </c:pt>
                <c:pt idx="441">
                  <c:v>0.53214890643120172</c:v>
                </c:pt>
                <c:pt idx="442">
                  <c:v>0.51877347628249626</c:v>
                </c:pt>
                <c:pt idx="443">
                  <c:v>0.51293248393613022</c:v>
                </c:pt>
                <c:pt idx="444">
                  <c:v>0.48830531402224731</c:v>
                </c:pt>
                <c:pt idx="445">
                  <c:v>0.51639753660205301</c:v>
                </c:pt>
                <c:pt idx="446">
                  <c:v>0.49715322457204114</c:v>
                </c:pt>
                <c:pt idx="447">
                  <c:v>0.48453158164157939</c:v>
                </c:pt>
                <c:pt idx="448">
                  <c:v>0.49145416686527765</c:v>
                </c:pt>
                <c:pt idx="449">
                  <c:v>0.48249013874007329</c:v>
                </c:pt>
                <c:pt idx="450">
                  <c:v>0.43526190553026911</c:v>
                </c:pt>
                <c:pt idx="451">
                  <c:v>0.42360159296023059</c:v>
                </c:pt>
                <c:pt idx="452">
                  <c:v>0.41448023469842932</c:v>
                </c:pt>
                <c:pt idx="453">
                  <c:v>0.41746855987856413</c:v>
                </c:pt>
                <c:pt idx="454">
                  <c:v>0.38928964880798822</c:v>
                </c:pt>
                <c:pt idx="455">
                  <c:v>0.38908980341430599</c:v>
                </c:pt>
                <c:pt idx="456">
                  <c:v>0.39178431145564052</c:v>
                </c:pt>
                <c:pt idx="457">
                  <c:v>0.39166410815218144</c:v>
                </c:pt>
                <c:pt idx="458">
                  <c:v>0.37557226098564866</c:v>
                </c:pt>
                <c:pt idx="459">
                  <c:v>0.37437958367615365</c:v>
                </c:pt>
                <c:pt idx="460">
                  <c:v>0.3693092543812766</c:v>
                </c:pt>
                <c:pt idx="461">
                  <c:v>0.36360036724181644</c:v>
                </c:pt>
                <c:pt idx="462">
                  <c:v>0.36201593374725438</c:v>
                </c:pt>
                <c:pt idx="463">
                  <c:v>0.34884757303312819</c:v>
                </c:pt>
                <c:pt idx="464">
                  <c:v>0.34281141315562924</c:v>
                </c:pt>
                <c:pt idx="465">
                  <c:v>0.34292841893278947</c:v>
                </c:pt>
                <c:pt idx="466">
                  <c:v>0.32840815594217276</c:v>
                </c:pt>
                <c:pt idx="467">
                  <c:v>0.31851560170783344</c:v>
                </c:pt>
                <c:pt idx="468">
                  <c:v>0.33033875126531687</c:v>
                </c:pt>
                <c:pt idx="469">
                  <c:v>0.31160290513028199</c:v>
                </c:pt>
                <c:pt idx="470">
                  <c:v>0.27686924278728298</c:v>
                </c:pt>
                <c:pt idx="471">
                  <c:v>0.27045565637961211</c:v>
                </c:pt>
                <c:pt idx="472">
                  <c:v>0.25328109128019705</c:v>
                </c:pt>
                <c:pt idx="473">
                  <c:v>0.25525408343352707</c:v>
                </c:pt>
                <c:pt idx="474">
                  <c:v>0.24718861941176717</c:v>
                </c:pt>
                <c:pt idx="475">
                  <c:v>0.24785329038779147</c:v>
                </c:pt>
                <c:pt idx="476">
                  <c:v>0.23679328377364905</c:v>
                </c:pt>
                <c:pt idx="477">
                  <c:v>0.2188401802338984</c:v>
                </c:pt>
                <c:pt idx="478">
                  <c:v>0.19248664218585199</c:v>
                </c:pt>
                <c:pt idx="479">
                  <c:v>0.17481900668845451</c:v>
                </c:pt>
                <c:pt idx="480">
                  <c:v>0.1664147233059099</c:v>
                </c:pt>
                <c:pt idx="481">
                  <c:v>0.14986172179093393</c:v>
                </c:pt>
                <c:pt idx="482">
                  <c:v>0.15032992253992461</c:v>
                </c:pt>
                <c:pt idx="483">
                  <c:v>0.15957343814903413</c:v>
                </c:pt>
                <c:pt idx="484">
                  <c:v>0.18101273355635006</c:v>
                </c:pt>
                <c:pt idx="485">
                  <c:v>0.15907432797915355</c:v>
                </c:pt>
                <c:pt idx="486">
                  <c:v>0.15622550968717142</c:v>
                </c:pt>
                <c:pt idx="487">
                  <c:v>0.16799974893497094</c:v>
                </c:pt>
                <c:pt idx="488">
                  <c:v>0.18843573164582761</c:v>
                </c:pt>
                <c:pt idx="489">
                  <c:v>0.19071154138235458</c:v>
                </c:pt>
                <c:pt idx="490">
                  <c:v>0.18188767149325269</c:v>
                </c:pt>
                <c:pt idx="491">
                  <c:v>0.17005836373697147</c:v>
                </c:pt>
                <c:pt idx="492">
                  <c:v>0.1883446613597588</c:v>
                </c:pt>
                <c:pt idx="493">
                  <c:v>0.19417481764477795</c:v>
                </c:pt>
                <c:pt idx="494">
                  <c:v>0.1887132650858836</c:v>
                </c:pt>
                <c:pt idx="495">
                  <c:v>0.1777071427112229</c:v>
                </c:pt>
                <c:pt idx="496">
                  <c:v>0.16859117287337</c:v>
                </c:pt>
                <c:pt idx="497">
                  <c:v>0.15268957852162224</c:v>
                </c:pt>
                <c:pt idx="498">
                  <c:v>0.14601047900424158</c:v>
                </c:pt>
                <c:pt idx="499">
                  <c:v>0.13519579371336587</c:v>
                </c:pt>
                <c:pt idx="500">
                  <c:v>0.14677362194758214</c:v>
                </c:pt>
                <c:pt idx="501">
                  <c:v>0.14805778403729586</c:v>
                </c:pt>
                <c:pt idx="502">
                  <c:v>0.13812543836457047</c:v>
                </c:pt>
                <c:pt idx="503">
                  <c:v>0.13112196756820005</c:v>
                </c:pt>
                <c:pt idx="504">
                  <c:v>0.12790608509979262</c:v>
                </c:pt>
                <c:pt idx="505">
                  <c:v>0.14457585553812913</c:v>
                </c:pt>
                <c:pt idx="506">
                  <c:v>0.15691060930343848</c:v>
                </c:pt>
                <c:pt idx="507">
                  <c:v>0.15323428304798736</c:v>
                </c:pt>
                <c:pt idx="508">
                  <c:v>0.16589358573263646</c:v>
                </c:pt>
                <c:pt idx="509">
                  <c:v>0.17068365776875893</c:v>
                </c:pt>
                <c:pt idx="510">
                  <c:v>0.16702296386410276</c:v>
                </c:pt>
                <c:pt idx="511">
                  <c:v>0.1608661861889944</c:v>
                </c:pt>
                <c:pt idx="512">
                  <c:v>0.16402392104952157</c:v>
                </c:pt>
                <c:pt idx="513">
                  <c:v>0.19479572988126681</c:v>
                </c:pt>
                <c:pt idx="514">
                  <c:v>0.19045496950359175</c:v>
                </c:pt>
                <c:pt idx="515">
                  <c:v>0.19162301401789494</c:v>
                </c:pt>
                <c:pt idx="516">
                  <c:v>0.17581562826506536</c:v>
                </c:pt>
                <c:pt idx="517">
                  <c:v>0.16798707725667539</c:v>
                </c:pt>
                <c:pt idx="518">
                  <c:v>0.16447039046237011</c:v>
                </c:pt>
                <c:pt idx="519">
                  <c:v>0.16786983462571503</c:v>
                </c:pt>
                <c:pt idx="520">
                  <c:v>0.16148834190793315</c:v>
                </c:pt>
                <c:pt idx="521">
                  <c:v>0.15253355108092559</c:v>
                </c:pt>
                <c:pt idx="522">
                  <c:v>0.15668974313501338</c:v>
                </c:pt>
                <c:pt idx="523">
                  <c:v>0.13895602542743868</c:v>
                </c:pt>
                <c:pt idx="524">
                  <c:v>0.11570331811448842</c:v>
                </c:pt>
                <c:pt idx="525">
                  <c:v>0.10043554453132608</c:v>
                </c:pt>
                <c:pt idx="526">
                  <c:v>8.99040771717039E-2</c:v>
                </c:pt>
                <c:pt idx="527">
                  <c:v>9.7188278934429162E-2</c:v>
                </c:pt>
                <c:pt idx="528">
                  <c:v>8.271467614239647E-2</c:v>
                </c:pt>
                <c:pt idx="529">
                  <c:v>9.2386068141060651E-2</c:v>
                </c:pt>
                <c:pt idx="530">
                  <c:v>8.5594995989768163E-2</c:v>
                </c:pt>
                <c:pt idx="531">
                  <c:v>7.7729614215490406E-2</c:v>
                </c:pt>
                <c:pt idx="532">
                  <c:v>9.2680299774011043E-2</c:v>
                </c:pt>
                <c:pt idx="533">
                  <c:v>9.2119133908551643E-2</c:v>
                </c:pt>
                <c:pt idx="534">
                  <c:v>9.5973455794641893E-2</c:v>
                </c:pt>
                <c:pt idx="535">
                  <c:v>8.3567290608657085E-2</c:v>
                </c:pt>
                <c:pt idx="536">
                  <c:v>7.9628767196695316E-2</c:v>
                </c:pt>
                <c:pt idx="537">
                  <c:v>7.9661097740384212E-2</c:v>
                </c:pt>
                <c:pt idx="538">
                  <c:v>9.9721667178368723E-2</c:v>
                </c:pt>
                <c:pt idx="539">
                  <c:v>0.13950138130175382</c:v>
                </c:pt>
                <c:pt idx="540">
                  <c:v>0.12502144267057336</c:v>
                </c:pt>
                <c:pt idx="541">
                  <c:v>0.10383937048997005</c:v>
                </c:pt>
                <c:pt idx="542">
                  <c:v>9.9563626480372536E-2</c:v>
                </c:pt>
                <c:pt idx="543">
                  <c:v>0.10926095397012792</c:v>
                </c:pt>
                <c:pt idx="544">
                  <c:v>0.1152500983683431</c:v>
                </c:pt>
                <c:pt idx="545">
                  <c:v>9.8433182506806549E-2</c:v>
                </c:pt>
                <c:pt idx="546">
                  <c:v>6.5520037683438836E-2</c:v>
                </c:pt>
                <c:pt idx="547">
                  <c:v>7.049450040279881E-2</c:v>
                </c:pt>
                <c:pt idx="548">
                  <c:v>0.12107960330541245</c:v>
                </c:pt>
                <c:pt idx="549">
                  <c:v>0.1302541352452955</c:v>
                </c:pt>
                <c:pt idx="550">
                  <c:v>0.13435472586985231</c:v>
                </c:pt>
                <c:pt idx="551">
                  <c:v>0.12623673951796044</c:v>
                </c:pt>
                <c:pt idx="552">
                  <c:v>0.11514321809112937</c:v>
                </c:pt>
                <c:pt idx="553">
                  <c:v>0.10387276687575864</c:v>
                </c:pt>
                <c:pt idx="554">
                  <c:v>0.10582604095024495</c:v>
                </c:pt>
                <c:pt idx="555">
                  <c:v>0.10184624576364709</c:v>
                </c:pt>
                <c:pt idx="556">
                  <c:v>7.4732110950609165E-2</c:v>
                </c:pt>
                <c:pt idx="557">
                  <c:v>5.5207364021492511E-2</c:v>
                </c:pt>
                <c:pt idx="558">
                  <c:v>3.474437997744495E-2</c:v>
                </c:pt>
                <c:pt idx="559">
                  <c:v>2.326170775734604E-2</c:v>
                </c:pt>
                <c:pt idx="560">
                  <c:v>9.4590525670354975E-3</c:v>
                </c:pt>
                <c:pt idx="561">
                  <c:v>-9.6133036042411746E-4</c:v>
                </c:pt>
                <c:pt idx="562">
                  <c:v>8.6774350273011169E-3</c:v>
                </c:pt>
                <c:pt idx="563">
                  <c:v>1.3631232252617975E-2</c:v>
                </c:pt>
                <c:pt idx="564">
                  <c:v>6.6622828975855253E-3</c:v>
                </c:pt>
                <c:pt idx="565">
                  <c:v>-1.9525635130867025E-2</c:v>
                </c:pt>
                <c:pt idx="566">
                  <c:v>-2.5105377735921364E-2</c:v>
                </c:pt>
                <c:pt idx="567">
                  <c:v>-1.7709617833434055E-2</c:v>
                </c:pt>
                <c:pt idx="568">
                  <c:v>-5.4065136571382344E-2</c:v>
                </c:pt>
                <c:pt idx="569">
                  <c:v>-5.356288808865306E-2</c:v>
                </c:pt>
                <c:pt idx="570">
                  <c:v>-2.1773140838303617E-2</c:v>
                </c:pt>
                <c:pt idx="571">
                  <c:v>-2.2541080071092789E-2</c:v>
                </c:pt>
                <c:pt idx="572">
                  <c:v>-1.914104377324799E-2</c:v>
                </c:pt>
                <c:pt idx="573">
                  <c:v>9.8589979722352616E-2</c:v>
                </c:pt>
                <c:pt idx="574">
                  <c:v>9.8368047711828055E-2</c:v>
                </c:pt>
                <c:pt idx="575">
                  <c:v>7.4773856432844177E-2</c:v>
                </c:pt>
                <c:pt idx="576">
                  <c:v>6.3737061491093927E-2</c:v>
                </c:pt>
                <c:pt idx="577">
                  <c:v>8.6284951108933416E-2</c:v>
                </c:pt>
                <c:pt idx="578">
                  <c:v>0.12003898613546538</c:v>
                </c:pt>
                <c:pt idx="579">
                  <c:v>0.11239328626061296</c:v>
                </c:pt>
                <c:pt idx="580">
                  <c:v>0.10717166660103694</c:v>
                </c:pt>
                <c:pt idx="581">
                  <c:v>0.11664723972061752</c:v>
                </c:pt>
                <c:pt idx="582">
                  <c:v>0.10298314400326003</c:v>
                </c:pt>
                <c:pt idx="583">
                  <c:v>9.6450242493879346E-2</c:v>
                </c:pt>
                <c:pt idx="584">
                  <c:v>7.4879137946908036E-2</c:v>
                </c:pt>
                <c:pt idx="585">
                  <c:v>5.7359062366860503E-2</c:v>
                </c:pt>
                <c:pt idx="586">
                  <c:v>6.1150973276672183E-2</c:v>
                </c:pt>
                <c:pt idx="587">
                  <c:v>5.6193267963656535E-2</c:v>
                </c:pt>
                <c:pt idx="588">
                  <c:v>5.5512550142687633E-2</c:v>
                </c:pt>
                <c:pt idx="589">
                  <c:v>3.3982480516552949E-2</c:v>
                </c:pt>
                <c:pt idx="590">
                  <c:v>3.7098114614144251E-2</c:v>
                </c:pt>
                <c:pt idx="591">
                  <c:v>4.0923185055944611E-2</c:v>
                </c:pt>
                <c:pt idx="592">
                  <c:v>3.2201458368057878E-2</c:v>
                </c:pt>
                <c:pt idx="593">
                  <c:v>2.4933481090627208E-2</c:v>
                </c:pt>
                <c:pt idx="594">
                  <c:v>1.6027008438803225E-2</c:v>
                </c:pt>
                <c:pt idx="595">
                  <c:v>1.1456618302106092E-2</c:v>
                </c:pt>
                <c:pt idx="596">
                  <c:v>2.2362255452150759E-2</c:v>
                </c:pt>
                <c:pt idx="597">
                  <c:v>-4.7042125336532736E-3</c:v>
                </c:pt>
                <c:pt idx="598">
                  <c:v>-5.1493792506018821E-3</c:v>
                </c:pt>
                <c:pt idx="599">
                  <c:v>-6.4823924365490226E-3</c:v>
                </c:pt>
                <c:pt idx="600">
                  <c:v>-1.1683701882781783E-2</c:v>
                </c:pt>
                <c:pt idx="601">
                  <c:v>-1.2960639931597906E-2</c:v>
                </c:pt>
                <c:pt idx="602">
                  <c:v>-1.6121157824274146E-2</c:v>
                </c:pt>
                <c:pt idx="603">
                  <c:v>-3.7909931013371367E-2</c:v>
                </c:pt>
                <c:pt idx="604">
                  <c:v>-3.7648799698960067E-2</c:v>
                </c:pt>
                <c:pt idx="605">
                  <c:v>-3.9035282630238921E-2</c:v>
                </c:pt>
                <c:pt idx="606">
                  <c:v>-1.7701091096637311E-2</c:v>
                </c:pt>
                <c:pt idx="607">
                  <c:v>-2.7939747946108651E-2</c:v>
                </c:pt>
                <c:pt idx="608">
                  <c:v>-3.2518842459952957E-2</c:v>
                </c:pt>
                <c:pt idx="609">
                  <c:v>-4.6130534274078205E-2</c:v>
                </c:pt>
                <c:pt idx="610">
                  <c:v>-5.3913964633583777E-2</c:v>
                </c:pt>
                <c:pt idx="611">
                  <c:v>-3.902728881449169E-2</c:v>
                </c:pt>
                <c:pt idx="612">
                  <c:v>-4.8722247766247673E-2</c:v>
                </c:pt>
                <c:pt idx="613">
                  <c:v>-5.0977747289431496E-2</c:v>
                </c:pt>
                <c:pt idx="614">
                  <c:v>-5.0211821313941529E-2</c:v>
                </c:pt>
                <c:pt idx="615">
                  <c:v>-5.7036704345172828E-2</c:v>
                </c:pt>
                <c:pt idx="616">
                  <c:v>-3.3579947483592387E-2</c:v>
                </c:pt>
                <c:pt idx="617">
                  <c:v>-1.07623406010946E-2</c:v>
                </c:pt>
                <c:pt idx="618">
                  <c:v>5.8348933610163911E-3</c:v>
                </c:pt>
                <c:pt idx="619">
                  <c:v>1.6919947264500301E-2</c:v>
                </c:pt>
                <c:pt idx="620">
                  <c:v>4.0261889246569815E-2</c:v>
                </c:pt>
                <c:pt idx="621">
                  <c:v>7.7689289856053723E-2</c:v>
                </c:pt>
                <c:pt idx="622">
                  <c:v>6.9956250142481302E-2</c:v>
                </c:pt>
                <c:pt idx="623">
                  <c:v>6.8426766729501098E-2</c:v>
                </c:pt>
                <c:pt idx="624">
                  <c:v>8.7476917857028935E-2</c:v>
                </c:pt>
                <c:pt idx="625">
                  <c:v>0.1184319331030117</c:v>
                </c:pt>
                <c:pt idx="626">
                  <c:v>0.14165544818512132</c:v>
                </c:pt>
                <c:pt idx="627">
                  <c:v>0.14267676177037436</c:v>
                </c:pt>
                <c:pt idx="628">
                  <c:v>0.12919397763685514</c:v>
                </c:pt>
                <c:pt idx="629">
                  <c:v>0.11400128670826692</c:v>
                </c:pt>
                <c:pt idx="630">
                  <c:v>0.10671447955374247</c:v>
                </c:pt>
                <c:pt idx="631">
                  <c:v>9.9182114222151396E-2</c:v>
                </c:pt>
                <c:pt idx="632">
                  <c:v>9.3959902428075726E-2</c:v>
                </c:pt>
                <c:pt idx="633">
                  <c:v>8.3313383335142932E-2</c:v>
                </c:pt>
                <c:pt idx="634">
                  <c:v>9.086333506137767E-2</c:v>
                </c:pt>
                <c:pt idx="635">
                  <c:v>6.9330127122393836E-2</c:v>
                </c:pt>
                <c:pt idx="636">
                  <c:v>5.3415268957851092E-2</c:v>
                </c:pt>
                <c:pt idx="637">
                  <c:v>6.1347561930606087E-2</c:v>
                </c:pt>
                <c:pt idx="638">
                  <c:v>3.9780365471333567E-2</c:v>
                </c:pt>
                <c:pt idx="639">
                  <c:v>4.8701226991502589E-2</c:v>
                </c:pt>
                <c:pt idx="640">
                  <c:v>2.9310480099690395E-2</c:v>
                </c:pt>
                <c:pt idx="641">
                  <c:v>3.3473422487076077E-2</c:v>
                </c:pt>
                <c:pt idx="642">
                  <c:v>4.61991626626026E-2</c:v>
                </c:pt>
                <c:pt idx="643">
                  <c:v>5.9608581331596522E-2</c:v>
                </c:pt>
                <c:pt idx="644">
                  <c:v>5.8921527671479845E-2</c:v>
                </c:pt>
                <c:pt idx="645">
                  <c:v>7.052499532953771E-2</c:v>
                </c:pt>
                <c:pt idx="646">
                  <c:v>6.8565918336953358E-2</c:v>
                </c:pt>
                <c:pt idx="647">
                  <c:v>5.0064971957989091E-2</c:v>
                </c:pt>
                <c:pt idx="648">
                  <c:v>4.0730149209010635E-2</c:v>
                </c:pt>
                <c:pt idx="649">
                  <c:v>3.5359252442035638E-2</c:v>
                </c:pt>
                <c:pt idx="650">
                  <c:v>3.813233673149341E-2</c:v>
                </c:pt>
                <c:pt idx="651">
                  <c:v>2.9434828344648167E-2</c:v>
                </c:pt>
                <c:pt idx="652">
                  <c:v>4.0684969346675981E-2</c:v>
                </c:pt>
                <c:pt idx="653">
                  <c:v>3.2517480550600775E-2</c:v>
                </c:pt>
                <c:pt idx="654">
                  <c:v>3.16086725203093E-2</c:v>
                </c:pt>
                <c:pt idx="655">
                  <c:v>5.5988152572926442E-2</c:v>
                </c:pt>
                <c:pt idx="656">
                  <c:v>6.0819614810584843E-2</c:v>
                </c:pt>
                <c:pt idx="657">
                  <c:v>5.2628322207618039E-2</c:v>
                </c:pt>
                <c:pt idx="658">
                  <c:v>4.9222660632024962E-2</c:v>
                </c:pt>
                <c:pt idx="659">
                  <c:v>4.7021222988672839E-2</c:v>
                </c:pt>
                <c:pt idx="660">
                  <c:v>3.4991892198359631E-2</c:v>
                </c:pt>
                <c:pt idx="661">
                  <c:v>3.6441911161467111E-2</c:v>
                </c:pt>
                <c:pt idx="662">
                  <c:v>3.9382214233668167E-2</c:v>
                </c:pt>
                <c:pt idx="663">
                  <c:v>4.8377743914261861E-2</c:v>
                </c:pt>
                <c:pt idx="664">
                  <c:v>3.2477689112214048E-2</c:v>
                </c:pt>
                <c:pt idx="665">
                  <c:v>3.8371440642511523E-2</c:v>
                </c:pt>
                <c:pt idx="666">
                  <c:v>5.2117369347741471E-2</c:v>
                </c:pt>
                <c:pt idx="667">
                  <c:v>4.1442842292968018E-2</c:v>
                </c:pt>
                <c:pt idx="668">
                  <c:v>2.7153511757272986E-2</c:v>
                </c:pt>
                <c:pt idx="669">
                  <c:v>1.5587644639952325E-2</c:v>
                </c:pt>
                <c:pt idx="670">
                  <c:v>2.3093956053552134E-2</c:v>
                </c:pt>
                <c:pt idx="671">
                  <c:v>2.0911881208343308E-2</c:v>
                </c:pt>
                <c:pt idx="672">
                  <c:v>7.4780665979576888E-3</c:v>
                </c:pt>
                <c:pt idx="673">
                  <c:v>8.6208861825554095E-4</c:v>
                </c:pt>
                <c:pt idx="674">
                  <c:v>-1.0223202139045817E-3</c:v>
                </c:pt>
                <c:pt idx="675">
                  <c:v>-1.5056203926386291E-2</c:v>
                </c:pt>
                <c:pt idx="676">
                  <c:v>-3.3241542616957886E-2</c:v>
                </c:pt>
                <c:pt idx="677">
                  <c:v>-1.8386072286004862E-2</c:v>
                </c:pt>
                <c:pt idx="678">
                  <c:v>-2.1333599399103398E-2</c:v>
                </c:pt>
                <c:pt idx="679">
                  <c:v>-2.1740632654265069E-2</c:v>
                </c:pt>
                <c:pt idx="680">
                  <c:v>-2.9804497912875316E-2</c:v>
                </c:pt>
                <c:pt idx="681">
                  <c:v>-3.9166440421944615E-2</c:v>
                </c:pt>
                <c:pt idx="682">
                  <c:v>-4.9655214884131049E-2</c:v>
                </c:pt>
                <c:pt idx="683">
                  <c:v>-5.5995376613826919E-2</c:v>
                </c:pt>
                <c:pt idx="684">
                  <c:v>-6.269099668375222E-2</c:v>
                </c:pt>
                <c:pt idx="685">
                  <c:v>-8.440196339957573E-2</c:v>
                </c:pt>
                <c:pt idx="686">
                  <c:v>-6.6278976471833007E-2</c:v>
                </c:pt>
                <c:pt idx="687">
                  <c:v>-8.7056502362173882E-2</c:v>
                </c:pt>
                <c:pt idx="688">
                  <c:v>-9.2800207010222513E-2</c:v>
                </c:pt>
                <c:pt idx="689">
                  <c:v>-8.8866183820459188E-2</c:v>
                </c:pt>
                <c:pt idx="690">
                  <c:v>-0.10494174728824723</c:v>
                </c:pt>
                <c:pt idx="691">
                  <c:v>-9.6231922503806744E-2</c:v>
                </c:pt>
                <c:pt idx="692">
                  <c:v>-9.9438745314367138E-2</c:v>
                </c:pt>
                <c:pt idx="693">
                  <c:v>-0.10457053817032347</c:v>
                </c:pt>
                <c:pt idx="694">
                  <c:v>-9.6215046670562243E-2</c:v>
                </c:pt>
                <c:pt idx="695">
                  <c:v>-0.10942367253067453</c:v>
                </c:pt>
                <c:pt idx="696">
                  <c:v>-0.11442259040487623</c:v>
                </c:pt>
                <c:pt idx="697">
                  <c:v>-0.11097778873884656</c:v>
                </c:pt>
                <c:pt idx="698">
                  <c:v>-0.10990490023866117</c:v>
                </c:pt>
                <c:pt idx="699">
                  <c:v>-8.4881118636813246E-2</c:v>
                </c:pt>
                <c:pt idx="700">
                  <c:v>-8.5522281873195216E-2</c:v>
                </c:pt>
                <c:pt idx="701">
                  <c:v>-8.8434754623905598E-2</c:v>
                </c:pt>
                <c:pt idx="702">
                  <c:v>-0.10064089677585852</c:v>
                </c:pt>
                <c:pt idx="703">
                  <c:v>-0.10307160889753275</c:v>
                </c:pt>
                <c:pt idx="704">
                  <c:v>-0.1052779612572331</c:v>
                </c:pt>
                <c:pt idx="705">
                  <c:v>-0.10725065734331296</c:v>
                </c:pt>
                <c:pt idx="706">
                  <c:v>-0.10442114263602442</c:v>
                </c:pt>
                <c:pt idx="707">
                  <c:v>-8.9415092501772597E-2</c:v>
                </c:pt>
                <c:pt idx="708">
                  <c:v>-9.2325315141383757E-2</c:v>
                </c:pt>
                <c:pt idx="709">
                  <c:v>-9.5232221827796226E-2</c:v>
                </c:pt>
                <c:pt idx="710">
                  <c:v>-0.12128791622244373</c:v>
                </c:pt>
                <c:pt idx="711">
                  <c:v>-0.12773892553050203</c:v>
                </c:pt>
                <c:pt idx="712">
                  <c:v>-0.11752111181542368</c:v>
                </c:pt>
                <c:pt idx="713">
                  <c:v>-0.12501173166477886</c:v>
                </c:pt>
                <c:pt idx="714">
                  <c:v>-0.13123778907636341</c:v>
                </c:pt>
                <c:pt idx="715">
                  <c:v>-0.14758745160410891</c:v>
                </c:pt>
                <c:pt idx="716">
                  <c:v>-0.14491431961821699</c:v>
                </c:pt>
                <c:pt idx="717">
                  <c:v>-0.14812771512172529</c:v>
                </c:pt>
                <c:pt idx="718">
                  <c:v>-0.14864121415995057</c:v>
                </c:pt>
                <c:pt idx="719">
                  <c:v>-0.1452948252477877</c:v>
                </c:pt>
                <c:pt idx="720">
                  <c:v>-0.15502880586308054</c:v>
                </c:pt>
                <c:pt idx="721">
                  <c:v>-0.14941300226698861</c:v>
                </c:pt>
                <c:pt idx="722">
                  <c:v>-0.16622156903207785</c:v>
                </c:pt>
                <c:pt idx="723">
                  <c:v>-0.20961472472703502</c:v>
                </c:pt>
                <c:pt idx="724">
                  <c:v>-0.19573900013944923</c:v>
                </c:pt>
                <c:pt idx="725">
                  <c:v>-0.20133017094034966</c:v>
                </c:pt>
                <c:pt idx="726">
                  <c:v>-0.2082929620965841</c:v>
                </c:pt>
                <c:pt idx="727">
                  <c:v>-0.22884926653779991</c:v>
                </c:pt>
                <c:pt idx="728">
                  <c:v>-0.22252325682264928</c:v>
                </c:pt>
                <c:pt idx="729">
                  <c:v>-0.20623600527118302</c:v>
                </c:pt>
                <c:pt idx="730">
                  <c:v>-0.20847279334417312</c:v>
                </c:pt>
                <c:pt idx="731">
                  <c:v>-0.20469325804540706</c:v>
                </c:pt>
                <c:pt idx="732">
                  <c:v>-0.21768309020784382</c:v>
                </c:pt>
                <c:pt idx="733">
                  <c:v>-0.21535629769088438</c:v>
                </c:pt>
                <c:pt idx="734">
                  <c:v>-0.21593990545388608</c:v>
                </c:pt>
                <c:pt idx="735">
                  <c:v>-0.23337062793791408</c:v>
                </c:pt>
                <c:pt idx="736">
                  <c:v>-0.23468291641636818</c:v>
                </c:pt>
                <c:pt idx="737">
                  <c:v>-0.25293291619431768</c:v>
                </c:pt>
                <c:pt idx="738">
                  <c:v>-0.25028808823751625</c:v>
                </c:pt>
                <c:pt idx="739">
                  <c:v>-0.24350968776451942</c:v>
                </c:pt>
                <c:pt idx="740">
                  <c:v>-0.25009955261278038</c:v>
                </c:pt>
                <c:pt idx="741">
                  <c:v>-0.27179210394566022</c:v>
                </c:pt>
                <c:pt idx="742">
                  <c:v>-0.25555536146702673</c:v>
                </c:pt>
                <c:pt idx="743">
                  <c:v>-0.27199005450894298</c:v>
                </c:pt>
                <c:pt idx="744">
                  <c:v>-0.27231922207738091</c:v>
                </c:pt>
                <c:pt idx="745">
                  <c:v>-0.26614053542578031</c:v>
                </c:pt>
                <c:pt idx="746">
                  <c:v>-0.26024269816743417</c:v>
                </c:pt>
                <c:pt idx="747">
                  <c:v>-0.24239801445459697</c:v>
                </c:pt>
                <c:pt idx="748">
                  <c:v>-0.23546423788885273</c:v>
                </c:pt>
                <c:pt idx="749">
                  <c:v>-0.23152784616109001</c:v>
                </c:pt>
                <c:pt idx="750">
                  <c:v>-0.25783851367135102</c:v>
                </c:pt>
                <c:pt idx="751">
                  <c:v>-0.27368734883916646</c:v>
                </c:pt>
                <c:pt idx="752">
                  <c:v>-0.26323842502881645</c:v>
                </c:pt>
                <c:pt idx="753">
                  <c:v>-0.2529019475599783</c:v>
                </c:pt>
                <c:pt idx="754">
                  <c:v>-0.26464000738984017</c:v>
                </c:pt>
                <c:pt idx="755">
                  <c:v>-0.26220751886466642</c:v>
                </c:pt>
                <c:pt idx="756">
                  <c:v>-0.25520991019984396</c:v>
                </c:pt>
                <c:pt idx="757">
                  <c:v>-0.24214837054948168</c:v>
                </c:pt>
                <c:pt idx="758">
                  <c:v>-0.23890909876833222</c:v>
                </c:pt>
                <c:pt idx="759">
                  <c:v>-0.21632479287875528</c:v>
                </c:pt>
                <c:pt idx="760">
                  <c:v>-0.21156995284537061</c:v>
                </c:pt>
                <c:pt idx="761">
                  <c:v>-0.22316465691283138</c:v>
                </c:pt>
                <c:pt idx="762">
                  <c:v>-0.21814264579313747</c:v>
                </c:pt>
                <c:pt idx="763">
                  <c:v>-0.21145330234891013</c:v>
                </c:pt>
                <c:pt idx="764">
                  <c:v>-0.21559409890600345</c:v>
                </c:pt>
                <c:pt idx="765">
                  <c:v>-0.17963554713672036</c:v>
                </c:pt>
                <c:pt idx="766">
                  <c:v>-0.18701443120596328</c:v>
                </c:pt>
                <c:pt idx="767">
                  <c:v>-0.21195010319424135</c:v>
                </c:pt>
                <c:pt idx="768">
                  <c:v>-0.21560949440299826</c:v>
                </c:pt>
                <c:pt idx="769">
                  <c:v>-0.2296377528377318</c:v>
                </c:pt>
                <c:pt idx="770">
                  <c:v>-0.21277642688871057</c:v>
                </c:pt>
                <c:pt idx="771">
                  <c:v>-0.22875191962603292</c:v>
                </c:pt>
                <c:pt idx="772">
                  <c:v>-0.18667898701182706</c:v>
                </c:pt>
                <c:pt idx="773">
                  <c:v>-0.18342461580093294</c:v>
                </c:pt>
                <c:pt idx="774">
                  <c:v>-0.16975163806607818</c:v>
                </c:pt>
                <c:pt idx="775">
                  <c:v>-0.16097620477905972</c:v>
                </c:pt>
                <c:pt idx="776">
                  <c:v>-0.13574061666663373</c:v>
                </c:pt>
                <c:pt idx="777">
                  <c:v>-0.14886113291317582</c:v>
                </c:pt>
                <c:pt idx="778">
                  <c:v>-0.14789003233350573</c:v>
                </c:pt>
                <c:pt idx="779">
                  <c:v>-0.148321698383859</c:v>
                </c:pt>
                <c:pt idx="780">
                  <c:v>-0.13465641839750175</c:v>
                </c:pt>
                <c:pt idx="781">
                  <c:v>-0.12293037889798575</c:v>
                </c:pt>
                <c:pt idx="782">
                  <c:v>-0.12373426069491278</c:v>
                </c:pt>
                <c:pt idx="783">
                  <c:v>-0.11900156649182059</c:v>
                </c:pt>
                <c:pt idx="784">
                  <c:v>-0.11802134704085387</c:v>
                </c:pt>
                <c:pt idx="785">
                  <c:v>-0.1183795291997819</c:v>
                </c:pt>
                <c:pt idx="786">
                  <c:v>-0.13145149041734061</c:v>
                </c:pt>
                <c:pt idx="787">
                  <c:v>-0.13383382515038122</c:v>
                </c:pt>
                <c:pt idx="788">
                  <c:v>-0.15157263521465447</c:v>
                </c:pt>
                <c:pt idx="789">
                  <c:v>-0.14749365749934029</c:v>
                </c:pt>
                <c:pt idx="790">
                  <c:v>-0.14893692612914988</c:v>
                </c:pt>
                <c:pt idx="791">
                  <c:v>-0.14521701877451376</c:v>
                </c:pt>
                <c:pt idx="792">
                  <c:v>-0.14920877507800745</c:v>
                </c:pt>
                <c:pt idx="793">
                  <c:v>-0.16104104350678738</c:v>
                </c:pt>
                <c:pt idx="794">
                  <c:v>-0.13322434110973791</c:v>
                </c:pt>
                <c:pt idx="795">
                  <c:v>-0.13041673537894183</c:v>
                </c:pt>
                <c:pt idx="796">
                  <c:v>-0.14398253676933292</c:v>
                </c:pt>
                <c:pt idx="797">
                  <c:v>-0.15209004234057844</c:v>
                </c:pt>
                <c:pt idx="798">
                  <c:v>-0.14494001825550762</c:v>
                </c:pt>
                <c:pt idx="799">
                  <c:v>-0.13652578701336637</c:v>
                </c:pt>
                <c:pt idx="800">
                  <c:v>-0.13152609936431514</c:v>
                </c:pt>
                <c:pt idx="801">
                  <c:v>-0.14993674523206013</c:v>
                </c:pt>
                <c:pt idx="802">
                  <c:v>-0.16004311923427628</c:v>
                </c:pt>
                <c:pt idx="803">
                  <c:v>-0.16368818078813807</c:v>
                </c:pt>
                <c:pt idx="804">
                  <c:v>-0.1843726231351106</c:v>
                </c:pt>
                <c:pt idx="805">
                  <c:v>-0.18213909180186938</c:v>
                </c:pt>
                <c:pt idx="806">
                  <c:v>-0.19632195655450058</c:v>
                </c:pt>
                <c:pt idx="807">
                  <c:v>-0.19276494540075906</c:v>
                </c:pt>
                <c:pt idx="808">
                  <c:v>-0.18947326971637735</c:v>
                </c:pt>
                <c:pt idx="809">
                  <c:v>-0.18344131399382679</c:v>
                </c:pt>
                <c:pt idx="810">
                  <c:v>-0.16817063895161488</c:v>
                </c:pt>
                <c:pt idx="811">
                  <c:v>-0.16809289169179142</c:v>
                </c:pt>
                <c:pt idx="812">
                  <c:v>-0.18760863817651086</c:v>
                </c:pt>
                <c:pt idx="813">
                  <c:v>-0.18876685325811726</c:v>
                </c:pt>
                <c:pt idx="814">
                  <c:v>-0.17211070191327604</c:v>
                </c:pt>
                <c:pt idx="815">
                  <c:v>-0.16547405843953089</c:v>
                </c:pt>
                <c:pt idx="816">
                  <c:v>-0.14278630665283909</c:v>
                </c:pt>
                <c:pt idx="817">
                  <c:v>-0.14145885953118997</c:v>
                </c:pt>
                <c:pt idx="818">
                  <c:v>-0.13063783840116672</c:v>
                </c:pt>
                <c:pt idx="819">
                  <c:v>-0.12862345604630099</c:v>
                </c:pt>
                <c:pt idx="820">
                  <c:v>-0.15635187118943017</c:v>
                </c:pt>
                <c:pt idx="821">
                  <c:v>-0.16167966056482019</c:v>
                </c:pt>
                <c:pt idx="822">
                  <c:v>-0.1593277023316193</c:v>
                </c:pt>
                <c:pt idx="823">
                  <c:v>-0.17817996210931419</c:v>
                </c:pt>
                <c:pt idx="824">
                  <c:v>-0.1787494770712208</c:v>
                </c:pt>
                <c:pt idx="825">
                  <c:v>-0.15500275194508895</c:v>
                </c:pt>
                <c:pt idx="826">
                  <c:v>-0.16869669124123632</c:v>
                </c:pt>
                <c:pt idx="827">
                  <c:v>-0.1657039250523531</c:v>
                </c:pt>
                <c:pt idx="828">
                  <c:v>-0.13411319420738632</c:v>
                </c:pt>
                <c:pt idx="829">
                  <c:v>-0.10839098996302532</c:v>
                </c:pt>
                <c:pt idx="830">
                  <c:v>-8.2426839562046661E-2</c:v>
                </c:pt>
                <c:pt idx="831">
                  <c:v>-7.4290674681010804E-2</c:v>
                </c:pt>
                <c:pt idx="832">
                  <c:v>-7.8548713869064257E-2</c:v>
                </c:pt>
                <c:pt idx="833">
                  <c:v>-7.859134755304964E-2</c:v>
                </c:pt>
                <c:pt idx="834">
                  <c:v>-5.5290854985966087E-2</c:v>
                </c:pt>
                <c:pt idx="835">
                  <c:v>-6.5798281684896209E-2</c:v>
                </c:pt>
                <c:pt idx="836">
                  <c:v>-5.8852544002256035E-2</c:v>
                </c:pt>
                <c:pt idx="837">
                  <c:v>-5.7302928016282562E-2</c:v>
                </c:pt>
                <c:pt idx="838">
                  <c:v>-7.7756023414183528E-2</c:v>
                </c:pt>
                <c:pt idx="839">
                  <c:v>-8.6888809871830675E-2</c:v>
                </c:pt>
                <c:pt idx="840">
                  <c:v>-9.9952895700542221E-2</c:v>
                </c:pt>
                <c:pt idx="841">
                  <c:v>-9.4554879173476047E-2</c:v>
                </c:pt>
                <c:pt idx="842">
                  <c:v>-0.11154540887035358</c:v>
                </c:pt>
                <c:pt idx="843">
                  <c:v>-0.11562876838096603</c:v>
                </c:pt>
                <c:pt idx="844">
                  <c:v>-0.11799197716966325</c:v>
                </c:pt>
                <c:pt idx="845">
                  <c:v>-8.7491129085025765E-2</c:v>
                </c:pt>
                <c:pt idx="846">
                  <c:v>-0.10561044477886983</c:v>
                </c:pt>
                <c:pt idx="847">
                  <c:v>-0.10533036516046479</c:v>
                </c:pt>
                <c:pt idx="848">
                  <c:v>-0.12677155539818019</c:v>
                </c:pt>
                <c:pt idx="849">
                  <c:v>-0.12299012526901487</c:v>
                </c:pt>
                <c:pt idx="850">
                  <c:v>-0.11241916253825646</c:v>
                </c:pt>
                <c:pt idx="851">
                  <c:v>-0.11658269706014179</c:v>
                </c:pt>
                <c:pt idx="852">
                  <c:v>-8.8765757809292634E-2</c:v>
                </c:pt>
                <c:pt idx="853">
                  <c:v>-7.9616213945301162E-2</c:v>
                </c:pt>
                <c:pt idx="854">
                  <c:v>-4.8823858046413093E-2</c:v>
                </c:pt>
                <c:pt idx="855">
                  <c:v>-7.0703819948479296E-2</c:v>
                </c:pt>
                <c:pt idx="856">
                  <c:v>-7.3054712339580385E-2</c:v>
                </c:pt>
                <c:pt idx="857">
                  <c:v>-7.607637469205375E-2</c:v>
                </c:pt>
                <c:pt idx="858">
                  <c:v>-5.2313602720977292E-2</c:v>
                </c:pt>
                <c:pt idx="859">
                  <c:v>-7.0637382457601761E-2</c:v>
                </c:pt>
                <c:pt idx="860">
                  <c:v>-7.470694523436916E-2</c:v>
                </c:pt>
                <c:pt idx="861">
                  <c:v>-5.1792405934254382E-2</c:v>
                </c:pt>
                <c:pt idx="862">
                  <c:v>-5.1620450075512969E-2</c:v>
                </c:pt>
                <c:pt idx="863">
                  <c:v>-3.5166867943062785E-3</c:v>
                </c:pt>
                <c:pt idx="864">
                  <c:v>9.2675562698001368E-3</c:v>
                </c:pt>
                <c:pt idx="865">
                  <c:v>7.1809927194093071E-3</c:v>
                </c:pt>
                <c:pt idx="866">
                  <c:v>-3.40684584459372E-3</c:v>
                </c:pt>
                <c:pt idx="867">
                  <c:v>-1.1871112451978805E-3</c:v>
                </c:pt>
                <c:pt idx="868">
                  <c:v>1.1150188698460406E-2</c:v>
                </c:pt>
                <c:pt idx="869">
                  <c:v>-2.0528710973538589E-3</c:v>
                </c:pt>
                <c:pt idx="870">
                  <c:v>9.855723468450206E-3</c:v>
                </c:pt>
                <c:pt idx="871">
                  <c:v>2.3872553707338318E-2</c:v>
                </c:pt>
                <c:pt idx="872">
                  <c:v>2.5976644438923335E-2</c:v>
                </c:pt>
                <c:pt idx="873">
                  <c:v>2.3800550152162536E-2</c:v>
                </c:pt>
                <c:pt idx="874">
                  <c:v>3.8676449123358658E-2</c:v>
                </c:pt>
                <c:pt idx="875">
                  <c:v>5.3144367424193151E-2</c:v>
                </c:pt>
                <c:pt idx="876">
                  <c:v>5.5558203712623211E-2</c:v>
                </c:pt>
                <c:pt idx="877">
                  <c:v>6.8814733253769189E-2</c:v>
                </c:pt>
                <c:pt idx="878">
                  <c:v>8.2071440435265153E-2</c:v>
                </c:pt>
                <c:pt idx="879">
                  <c:v>8.513419692202473E-2</c:v>
                </c:pt>
                <c:pt idx="880">
                  <c:v>6.562543762440276E-2</c:v>
                </c:pt>
                <c:pt idx="881">
                  <c:v>5.6748690124468704E-2</c:v>
                </c:pt>
                <c:pt idx="882">
                  <c:v>5.1786010881654576E-2</c:v>
                </c:pt>
                <c:pt idx="883">
                  <c:v>3.6849714191479199E-2</c:v>
                </c:pt>
                <c:pt idx="884">
                  <c:v>4.4485939914334471E-2</c:v>
                </c:pt>
                <c:pt idx="885">
                  <c:v>3.2027903746167263E-2</c:v>
                </c:pt>
                <c:pt idx="886">
                  <c:v>3.5692032030922416E-2</c:v>
                </c:pt>
                <c:pt idx="887">
                  <c:v>2.4964982646016987E-2</c:v>
                </c:pt>
                <c:pt idx="888">
                  <c:v>1.631549636710572E-2</c:v>
                </c:pt>
                <c:pt idx="889">
                  <c:v>-1.3062723919363028E-2</c:v>
                </c:pt>
                <c:pt idx="890">
                  <c:v>-2.2223103844700831E-2</c:v>
                </c:pt>
                <c:pt idx="891">
                  <c:v>6.3032717503475055E-4</c:v>
                </c:pt>
                <c:pt idx="892">
                  <c:v>1.2967745545593434E-2</c:v>
                </c:pt>
                <c:pt idx="893">
                  <c:v>1.5979637678819936E-2</c:v>
                </c:pt>
                <c:pt idx="894">
                  <c:v>-1.6616596760255398E-2</c:v>
                </c:pt>
                <c:pt idx="895">
                  <c:v>-1.4896149971090011E-2</c:v>
                </c:pt>
                <c:pt idx="896">
                  <c:v>1.4468510435333481E-2</c:v>
                </c:pt>
                <c:pt idx="897">
                  <c:v>2.6849746758876858E-2</c:v>
                </c:pt>
                <c:pt idx="898">
                  <c:v>3.1593040169515474E-2</c:v>
                </c:pt>
                <c:pt idx="899">
                  <c:v>1.4727983773145326E-2</c:v>
                </c:pt>
                <c:pt idx="900">
                  <c:v>2.9915878412285268E-2</c:v>
                </c:pt>
                <c:pt idx="901">
                  <c:v>3.4257882272410001E-2</c:v>
                </c:pt>
                <c:pt idx="902">
                  <c:v>5.5227200527228071E-3</c:v>
                </c:pt>
                <c:pt idx="903">
                  <c:v>2.4889781564534363E-3</c:v>
                </c:pt>
                <c:pt idx="904">
                  <c:v>1.2857667742080636E-2</c:v>
                </c:pt>
                <c:pt idx="905">
                  <c:v>1.8292218967784324E-2</c:v>
                </c:pt>
                <c:pt idx="906">
                  <c:v>2.7702242798237409E-2</c:v>
                </c:pt>
                <c:pt idx="907">
                  <c:v>6.4176721357195099E-2</c:v>
                </c:pt>
                <c:pt idx="908">
                  <c:v>7.9704560412669601E-2</c:v>
                </c:pt>
                <c:pt idx="909">
                  <c:v>0.10284624250690722</c:v>
                </c:pt>
                <c:pt idx="910">
                  <c:v>0.10518618040976202</c:v>
                </c:pt>
                <c:pt idx="911">
                  <c:v>0.12298224988016582</c:v>
                </c:pt>
                <c:pt idx="912">
                  <c:v>0.13091004263072215</c:v>
                </c:pt>
                <c:pt idx="913">
                  <c:v>0.11035024459595744</c:v>
                </c:pt>
                <c:pt idx="914">
                  <c:v>9.7045219239277669E-2</c:v>
                </c:pt>
                <c:pt idx="915">
                  <c:v>9.5639847217455332E-2</c:v>
                </c:pt>
                <c:pt idx="916">
                  <c:v>8.8374001624224041E-2</c:v>
                </c:pt>
                <c:pt idx="917">
                  <c:v>0.10294287885727438</c:v>
                </c:pt>
                <c:pt idx="918">
                  <c:v>8.7506820649268624E-2</c:v>
                </c:pt>
                <c:pt idx="919">
                  <c:v>7.9170159026600961E-2</c:v>
                </c:pt>
                <c:pt idx="920">
                  <c:v>5.4437589171754119E-2</c:v>
                </c:pt>
                <c:pt idx="921">
                  <c:v>3.1468277430408031E-2</c:v>
                </c:pt>
                <c:pt idx="922">
                  <c:v>2.9810656111671108E-2</c:v>
                </c:pt>
                <c:pt idx="923">
                  <c:v>2.7977466913743809E-2</c:v>
                </c:pt>
                <c:pt idx="924">
                  <c:v>3.4310226962192214E-2</c:v>
                </c:pt>
                <c:pt idx="925">
                  <c:v>3.0082860341228645E-2</c:v>
                </c:pt>
                <c:pt idx="926">
                  <c:v>4.189096968241679E-2</c:v>
                </c:pt>
                <c:pt idx="927">
                  <c:v>4.5290295418862092E-2</c:v>
                </c:pt>
                <c:pt idx="928">
                  <c:v>4.8602103676236741E-2</c:v>
                </c:pt>
                <c:pt idx="929">
                  <c:v>5.9666788152927364E-2</c:v>
                </c:pt>
                <c:pt idx="930">
                  <c:v>5.3796662789171723E-2</c:v>
                </c:pt>
                <c:pt idx="931">
                  <c:v>6.373658778349478E-2</c:v>
                </c:pt>
                <c:pt idx="932">
                  <c:v>5.6059445566702948E-2</c:v>
                </c:pt>
                <c:pt idx="933">
                  <c:v>3.9919753932586621E-2</c:v>
                </c:pt>
                <c:pt idx="934">
                  <c:v>4.0450188017506328E-2</c:v>
                </c:pt>
                <c:pt idx="935">
                  <c:v>3.6944159644197505E-2</c:v>
                </c:pt>
                <c:pt idx="936">
                  <c:v>3.6655790142795519E-2</c:v>
                </c:pt>
                <c:pt idx="937">
                  <c:v>5.3185224704679568E-2</c:v>
                </c:pt>
                <c:pt idx="938">
                  <c:v>4.9669603752474201E-2</c:v>
                </c:pt>
                <c:pt idx="939">
                  <c:v>4.2262830148290575E-2</c:v>
                </c:pt>
                <c:pt idx="940">
                  <c:v>4.3310493718784482E-2</c:v>
                </c:pt>
                <c:pt idx="941">
                  <c:v>4.4022831522042338E-2</c:v>
                </c:pt>
                <c:pt idx="942">
                  <c:v>4.2667494865452849E-2</c:v>
                </c:pt>
                <c:pt idx="943">
                  <c:v>4.2489795302063316E-2</c:v>
                </c:pt>
                <c:pt idx="944">
                  <c:v>2.8094709544703944E-2</c:v>
                </c:pt>
                <c:pt idx="945">
                  <c:v>2.030399593085086E-2</c:v>
                </c:pt>
                <c:pt idx="946">
                  <c:v>8.9890162010950458E-3</c:v>
                </c:pt>
                <c:pt idx="947">
                  <c:v>-8.4056452918951363E-3</c:v>
                </c:pt>
                <c:pt idx="948">
                  <c:v>-7.8286102218494413E-4</c:v>
                </c:pt>
                <c:pt idx="949">
                  <c:v>5.4469860501984435E-3</c:v>
                </c:pt>
                <c:pt idx="950">
                  <c:v>8.4380350490320666E-3</c:v>
                </c:pt>
                <c:pt idx="951">
                  <c:v>-7.5987436090192428E-3</c:v>
                </c:pt>
                <c:pt idx="952">
                  <c:v>-2.2036877544523437E-3</c:v>
                </c:pt>
                <c:pt idx="953">
                  <c:v>8.8858071577799791E-3</c:v>
                </c:pt>
                <c:pt idx="954">
                  <c:v>-4.6455912181725401E-3</c:v>
                </c:pt>
                <c:pt idx="955">
                  <c:v>5.6613683458514696E-2</c:v>
                </c:pt>
                <c:pt idx="956">
                  <c:v>8.9262203373922322E-2</c:v>
                </c:pt>
                <c:pt idx="957">
                  <c:v>8.023333652098974E-2</c:v>
                </c:pt>
                <c:pt idx="958">
                  <c:v>7.9769458353847522E-2</c:v>
                </c:pt>
                <c:pt idx="959">
                  <c:v>8.8443932708650363E-2</c:v>
                </c:pt>
                <c:pt idx="960">
                  <c:v>7.1736561729576653E-2</c:v>
                </c:pt>
                <c:pt idx="961">
                  <c:v>8.3136216692803799E-2</c:v>
                </c:pt>
                <c:pt idx="962">
                  <c:v>9.8086191689924718E-2</c:v>
                </c:pt>
                <c:pt idx="963">
                  <c:v>8.5846653152182872E-2</c:v>
                </c:pt>
                <c:pt idx="964">
                  <c:v>0.11043870949022772</c:v>
                </c:pt>
                <c:pt idx="965">
                  <c:v>0.10688383002068536</c:v>
                </c:pt>
                <c:pt idx="966">
                  <c:v>0.10594275066015513</c:v>
                </c:pt>
                <c:pt idx="967">
                  <c:v>0.11136172874851402</c:v>
                </c:pt>
                <c:pt idx="968">
                  <c:v>0.11469082733328317</c:v>
                </c:pt>
                <c:pt idx="969">
                  <c:v>0.11121233321421498</c:v>
                </c:pt>
                <c:pt idx="970">
                  <c:v>0.11242508388325279</c:v>
                </c:pt>
                <c:pt idx="971">
                  <c:v>0.10824183128252396</c:v>
                </c:pt>
                <c:pt idx="972">
                  <c:v>0.10696122199980906</c:v>
                </c:pt>
                <c:pt idx="973">
                  <c:v>9.8051374181336248E-2</c:v>
                </c:pt>
                <c:pt idx="974">
                  <c:v>9.506452933745102E-2</c:v>
                </c:pt>
                <c:pt idx="975">
                  <c:v>0.10382071825322625</c:v>
                </c:pt>
                <c:pt idx="976">
                  <c:v>0.10406781597999237</c:v>
                </c:pt>
                <c:pt idx="977">
                  <c:v>0.10074096750632267</c:v>
                </c:pt>
                <c:pt idx="978">
                  <c:v>9.6683661913701258E-2</c:v>
                </c:pt>
                <c:pt idx="979">
                  <c:v>9.2428820251946986E-2</c:v>
                </c:pt>
                <c:pt idx="980">
                  <c:v>8.4204782611141171E-2</c:v>
                </c:pt>
                <c:pt idx="981">
                  <c:v>8.2337071971875675E-2</c:v>
                </c:pt>
                <c:pt idx="982">
                  <c:v>7.5046475156552495E-2</c:v>
                </c:pt>
                <c:pt idx="983">
                  <c:v>7.6131028706384107E-2</c:v>
                </c:pt>
                <c:pt idx="984">
                  <c:v>6.437792866022729E-2</c:v>
                </c:pt>
                <c:pt idx="985">
                  <c:v>6.654981879203925E-2</c:v>
                </c:pt>
                <c:pt idx="986">
                  <c:v>6.7158059350232779E-2</c:v>
                </c:pt>
                <c:pt idx="987">
                  <c:v>6.1644991089855772E-2</c:v>
                </c:pt>
                <c:pt idx="988">
                  <c:v>6.0301497123262493E-2</c:v>
                </c:pt>
                <c:pt idx="989">
                  <c:v>5.7615219751475433E-2</c:v>
                </c:pt>
                <c:pt idx="990">
                  <c:v>4.9535603715170184E-2</c:v>
                </c:pt>
                <c:pt idx="991">
                  <c:v>4.0703325516171063E-2</c:v>
                </c:pt>
                <c:pt idx="992">
                  <c:v>5.4214591319130756E-2</c:v>
                </c:pt>
                <c:pt idx="993">
                  <c:v>4.5669379925634024E-2</c:v>
                </c:pt>
                <c:pt idx="994">
                  <c:v>1.4315976588186397E-2</c:v>
                </c:pt>
                <c:pt idx="995">
                  <c:v>7.9123972535619647E-3</c:v>
                </c:pt>
                <c:pt idx="996">
                  <c:v>1.3393490250949824E-2</c:v>
                </c:pt>
                <c:pt idx="997">
                  <c:v>2.7231969578498605E-2</c:v>
                </c:pt>
                <c:pt idx="998">
                  <c:v>2.8345774572620108E-2</c:v>
                </c:pt>
                <c:pt idx="999">
                  <c:v>1.3043716401918815E-2</c:v>
                </c:pt>
                <c:pt idx="1000">
                  <c:v>1.1048223137596791E-2</c:v>
                </c:pt>
                <c:pt idx="1001">
                  <c:v>-4.6853826565576018E-3</c:v>
                </c:pt>
                <c:pt idx="1002">
                  <c:v>-3.0233795425221865E-3</c:v>
                </c:pt>
                <c:pt idx="1003">
                  <c:v>-1.0151494651100434E-2</c:v>
                </c:pt>
                <c:pt idx="1004">
                  <c:v>-4.2107276415188633E-3</c:v>
                </c:pt>
                <c:pt idx="1005">
                  <c:v>-4.9163743249289737E-3</c:v>
                </c:pt>
                <c:pt idx="1006">
                  <c:v>1.2685711883340556E-2</c:v>
                </c:pt>
                <c:pt idx="1007">
                  <c:v>1.0720891186107862E-2</c:v>
                </c:pt>
                <c:pt idx="1008">
                  <c:v>1.1734033315263792E-2</c:v>
                </c:pt>
                <c:pt idx="1009">
                  <c:v>-4.0792737825636749E-3</c:v>
                </c:pt>
                <c:pt idx="1010">
                  <c:v>-1.5545780730818026E-2</c:v>
                </c:pt>
                <c:pt idx="1011">
                  <c:v>-1.8478445267971488E-2</c:v>
                </c:pt>
                <c:pt idx="1012">
                  <c:v>-2.7055217430302925E-3</c:v>
                </c:pt>
                <c:pt idx="1013">
                  <c:v>5.4469860501997758E-3</c:v>
                </c:pt>
                <c:pt idx="1014">
                  <c:v>6.2140370812389101E-3</c:v>
                </c:pt>
                <c:pt idx="1015">
                  <c:v>-2.2311035817917935E-3</c:v>
                </c:pt>
                <c:pt idx="1016">
                  <c:v>1.284635797313971E-3</c:v>
                </c:pt>
                <c:pt idx="1017">
                  <c:v>-4.8274949365094688E-3</c:v>
                </c:pt>
                <c:pt idx="1018">
                  <c:v>-8.250209985695145E-4</c:v>
                </c:pt>
                <c:pt idx="1019">
                  <c:v>0</c:v>
                </c:pt>
                <c:pt idx="1020">
                  <c:v>0</c:v>
                </c:pt>
              </c:numCache>
            </c:numRef>
          </c:val>
          <c:smooth val="0"/>
          <c:extLst>
            <c:ext xmlns:c16="http://schemas.microsoft.com/office/drawing/2014/chart" uri="{C3380CC4-5D6E-409C-BE32-E72D297353CC}">
              <c16:uniqueId val="{00000003-1D55-4091-B462-1B341D70D85C}"/>
            </c:ext>
          </c:extLst>
        </c:ser>
        <c:dLbls>
          <c:showLegendKey val="0"/>
          <c:showVal val="0"/>
          <c:showCatName val="0"/>
          <c:showSerName val="0"/>
          <c:showPercent val="0"/>
          <c:showBubbleSize val="0"/>
        </c:dLbls>
        <c:smooth val="0"/>
        <c:axId val="155939519"/>
        <c:axId val="155939999"/>
      </c:lineChart>
      <c:dateAx>
        <c:axId val="155939519"/>
        <c:scaling>
          <c:orientation val="minMax"/>
        </c:scaling>
        <c:delete val="0"/>
        <c:axPos val="b"/>
        <c:numFmt formatCode="[$-409]mmm/yy;@" sourceLinked="0"/>
        <c:majorTickMark val="none"/>
        <c:minorTickMark val="none"/>
        <c:tickLblPos val="low"/>
        <c:spPr>
          <a:noFill/>
          <a:ln w="9525" cap="flat" cmpd="sng" algn="ctr">
            <a:solidFill>
              <a:srgbClr val="979797"/>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999"/>
        <c:crosses val="autoZero"/>
        <c:auto val="1"/>
        <c:lblOffset val="100"/>
        <c:baseTimeUnit val="days"/>
      </c:dateAx>
      <c:valAx>
        <c:axId val="155939999"/>
        <c:scaling>
          <c:orientation val="minMax"/>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numFmt formatCode="0%" sourceLinked="1"/>
        <c:majorTickMark val="none"/>
        <c:minorTickMark val="none"/>
        <c:tickLblPos val="nextTo"/>
        <c:spPr>
          <a:noFill/>
          <a:ln w="9525">
            <a:no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800" b="0" i="0" u="none" strike="noStrike" kern="1200" baseline="0">
                <a:solidFill>
                  <a:schemeClr val="bg1"/>
                </a:solidFill>
                <a:latin typeface="Bierstadt" panose="020B0004020202020204" pitchFamily="34" charset="0"/>
                <a:ea typeface="Bierstadt"/>
                <a:cs typeface="Bierstadt"/>
              </a:defRPr>
            </a:pPr>
            <a:endParaRPr lang="en-US"/>
          </a:p>
        </c:txPr>
        <c:crossAx val="155939519"/>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25400" cap="flat" cmpd="sng" algn="ctr">
      <a:noFill/>
      <a:round/>
    </a:ln>
    <a:effectLst/>
  </c:spPr>
  <c:txPr>
    <a:bodyPr/>
    <a:lstStyle/>
    <a:p>
      <a:pPr>
        <a:defRPr sz="800">
          <a:solidFill>
            <a:schemeClr val="bg1"/>
          </a:solidFill>
          <a:latin typeface="Bierstadt" panose="020B0004020202020204" pitchFamily="34" charset="0"/>
          <a:ea typeface="Bierstadt"/>
          <a:cs typeface="Bierstadt"/>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4582208615920292"/>
          <c:w val="0.45478027332406218"/>
          <c:h val="0.5971060515317913"/>
        </c:manualLayout>
      </c:layout>
      <c:doughnutChart>
        <c:varyColors val="0"/>
        <c:ser>
          <c:idx val="0"/>
          <c:order val="0"/>
          <c:tx>
            <c:strRef>
              <c:f>Sheet1!$B$1</c:f>
              <c:strCache>
                <c:ptCount val="1"/>
                <c:pt idx="0">
                  <c:v>Column1</c:v>
                </c:pt>
              </c:strCache>
            </c:strRef>
          </c:tx>
          <c:spPr>
            <a:solidFill>
              <a:schemeClr val="bg1">
                <a:alpha val="70000"/>
              </a:schemeClr>
            </a:solidFill>
            <a:ln w="19050">
              <a:solidFill>
                <a:schemeClr val="lt1"/>
              </a:solidFill>
            </a:ln>
            <a:effectLst/>
          </c:spPr>
          <c:dPt>
            <c:idx val="0"/>
            <c:bubble3D val="0"/>
            <c:spPr>
              <a:solidFill>
                <a:schemeClr val="bg1">
                  <a:lumMod val="95000"/>
                  <a:alpha val="70000"/>
                </a:schemeClr>
              </a:solidFill>
              <a:ln w="19050">
                <a:solidFill>
                  <a:schemeClr val="lt1"/>
                </a:solidFill>
              </a:ln>
              <a:effectLst/>
            </c:spPr>
            <c:extLst>
              <c:ext xmlns:c16="http://schemas.microsoft.com/office/drawing/2014/chart" uri="{C3380CC4-5D6E-409C-BE32-E72D297353CC}">
                <c16:uniqueId val="{00000001-0B11-408B-B9A7-2C2984287608}"/>
              </c:ext>
            </c:extLst>
          </c:dPt>
          <c:dPt>
            <c:idx val="1"/>
            <c:bubble3D val="0"/>
            <c:spPr>
              <a:solidFill>
                <a:schemeClr val="bg1">
                  <a:alpha val="70000"/>
                </a:schemeClr>
              </a:solidFill>
              <a:ln w="19050">
                <a:solidFill>
                  <a:schemeClr val="lt1"/>
                </a:solidFill>
              </a:ln>
              <a:effectLst/>
            </c:spPr>
            <c:extLst>
              <c:ext xmlns:c16="http://schemas.microsoft.com/office/drawing/2014/chart" uri="{C3380CC4-5D6E-409C-BE32-E72D297353CC}">
                <c16:uniqueId val="{00000003-0B11-408B-B9A7-2C2984287608}"/>
              </c:ext>
            </c:extLst>
          </c:dPt>
          <c:dPt>
            <c:idx val="2"/>
            <c:bubble3D val="0"/>
            <c:spPr>
              <a:solidFill>
                <a:schemeClr val="accent6">
                  <a:lumMod val="50000"/>
                  <a:alpha val="50000"/>
                </a:schemeClr>
              </a:solidFill>
              <a:ln w="19050">
                <a:solidFill>
                  <a:schemeClr val="lt1"/>
                </a:solidFill>
              </a:ln>
              <a:effectLst/>
            </c:spPr>
            <c:extLst>
              <c:ext xmlns:c16="http://schemas.microsoft.com/office/drawing/2014/chart" uri="{C3380CC4-5D6E-409C-BE32-E72D297353CC}">
                <c16:uniqueId val="{00000005-0B11-408B-B9A7-2C2984287608}"/>
              </c:ext>
            </c:extLst>
          </c:dPt>
          <c:dPt>
            <c:idx val="3"/>
            <c:bubble3D val="0"/>
            <c:spPr>
              <a:solidFill>
                <a:schemeClr val="accent6">
                  <a:alpha val="70000"/>
                </a:schemeClr>
              </a:solidFill>
              <a:ln w="19050">
                <a:solidFill>
                  <a:schemeClr val="lt1"/>
                </a:solidFill>
              </a:ln>
              <a:effectLst/>
            </c:spPr>
            <c:extLst>
              <c:ext xmlns:c16="http://schemas.microsoft.com/office/drawing/2014/chart" uri="{C3380CC4-5D6E-409C-BE32-E72D297353CC}">
                <c16:uniqueId val="{00000007-0B11-408B-B9A7-2C2984287608}"/>
              </c:ext>
            </c:extLst>
          </c:dPt>
          <c:dPt>
            <c:idx val="4"/>
            <c:bubble3D val="0"/>
            <c:spPr>
              <a:solidFill>
                <a:schemeClr val="accent6">
                  <a:lumMod val="60000"/>
                  <a:lumOff val="40000"/>
                  <a:alpha val="70000"/>
                </a:schemeClr>
              </a:solidFill>
              <a:ln w="19050">
                <a:solidFill>
                  <a:schemeClr val="lt1"/>
                </a:solidFill>
              </a:ln>
              <a:effectLst/>
            </c:spPr>
            <c:extLst>
              <c:ext xmlns:c16="http://schemas.microsoft.com/office/drawing/2014/chart" uri="{C3380CC4-5D6E-409C-BE32-E72D297353CC}">
                <c16:uniqueId val="{00000009-0B11-408B-B9A7-2C2984287608}"/>
              </c:ext>
            </c:extLst>
          </c:dPt>
          <c:dPt>
            <c:idx val="5"/>
            <c:bubble3D val="0"/>
            <c:spPr>
              <a:solidFill>
                <a:schemeClr val="accent6">
                  <a:lumMod val="40000"/>
                  <a:lumOff val="60000"/>
                  <a:alpha val="70000"/>
                </a:schemeClr>
              </a:solidFill>
              <a:ln w="19050">
                <a:solidFill>
                  <a:schemeClr val="lt1"/>
                </a:solidFill>
              </a:ln>
              <a:effectLst/>
            </c:spPr>
            <c:extLst>
              <c:ext xmlns:c16="http://schemas.microsoft.com/office/drawing/2014/chart" uri="{C3380CC4-5D6E-409C-BE32-E72D297353CC}">
                <c16:uniqueId val="{0000000B-0B11-408B-B9A7-2C2984287608}"/>
              </c:ext>
            </c:extLst>
          </c:dPt>
          <c:dPt>
            <c:idx val="6"/>
            <c:bubble3D val="0"/>
            <c:spPr>
              <a:solidFill>
                <a:schemeClr val="accent6">
                  <a:lumMod val="20000"/>
                  <a:lumOff val="80000"/>
                  <a:alpha val="70000"/>
                </a:schemeClr>
              </a:solidFill>
              <a:ln w="19050">
                <a:solidFill>
                  <a:schemeClr val="lt1"/>
                </a:solidFill>
              </a:ln>
              <a:effectLst/>
            </c:spPr>
            <c:extLst>
              <c:ext xmlns:c16="http://schemas.microsoft.com/office/drawing/2014/chart" uri="{C3380CC4-5D6E-409C-BE32-E72D297353CC}">
                <c16:uniqueId val="{0000000D-0B11-408B-B9A7-2C2984287608}"/>
              </c:ext>
            </c:extLst>
          </c:dPt>
          <c:dPt>
            <c:idx val="7"/>
            <c:bubble3D val="0"/>
            <c:spPr>
              <a:solidFill>
                <a:schemeClr val="bg1">
                  <a:lumMod val="75000"/>
                  <a:alpha val="70000"/>
                </a:schemeClr>
              </a:solidFill>
              <a:ln w="19050">
                <a:solidFill>
                  <a:schemeClr val="lt1"/>
                </a:solidFill>
              </a:ln>
              <a:effectLst/>
            </c:spPr>
            <c:extLst>
              <c:ext xmlns:c16="http://schemas.microsoft.com/office/drawing/2014/chart" uri="{C3380CC4-5D6E-409C-BE32-E72D297353CC}">
                <c16:uniqueId val="{0000000F-0B11-408B-B9A7-2C2984287608}"/>
              </c:ext>
            </c:extLst>
          </c:dPt>
          <c:dPt>
            <c:idx val="8"/>
            <c:bubble3D val="0"/>
            <c:spPr>
              <a:solidFill>
                <a:schemeClr val="bg1">
                  <a:lumMod val="85000"/>
                  <a:alpha val="70000"/>
                </a:schemeClr>
              </a:solidFill>
              <a:ln w="19050">
                <a:solidFill>
                  <a:schemeClr val="lt1"/>
                </a:solidFill>
              </a:ln>
              <a:effectLst/>
            </c:spPr>
            <c:extLst>
              <c:ext xmlns:c16="http://schemas.microsoft.com/office/drawing/2014/chart" uri="{C3380CC4-5D6E-409C-BE32-E72D297353CC}">
                <c16:uniqueId val="{00000011-0B11-408B-B9A7-2C2984287608}"/>
              </c:ext>
            </c:extLst>
          </c:dPt>
          <c:dLbls>
            <c:dLbl>
              <c:idx val="0"/>
              <c:layout>
                <c:manualLayout>
                  <c:x val="4.6065605186413956E-2"/>
                  <c:y val="-6.8403531592005629E-2"/>
                </c:manualLayout>
              </c:layout>
              <c:spPr>
                <a:solidFill>
                  <a:schemeClr val="bg1">
                    <a:lumMod val="9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1-0B11-408B-B9A7-2C2984287608}"/>
                </c:ext>
              </c:extLst>
            </c:dLbl>
            <c:dLbl>
              <c:idx val="1"/>
              <c:layout>
                <c:manualLayout>
                  <c:x val="8.0614695726189844E-2"/>
                  <c:y val="-6.3517565049719546E-2"/>
                </c:manualLayout>
              </c:layout>
              <c:spPr>
                <a:solidFill>
                  <a:schemeClr val="bg1"/>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3-0B11-408B-B9A7-2C2984287608}"/>
                </c:ext>
              </c:extLst>
            </c:dLbl>
            <c:dLbl>
              <c:idx val="6"/>
              <c:layout>
                <c:manualLayout>
                  <c:x val="1.5113337943908963E-7"/>
                  <c:y val="1.4657899626858305E-2"/>
                </c:manualLayout>
              </c:layout>
              <c:spPr>
                <a:solidFill>
                  <a:schemeClr val="accent6">
                    <a:lumMod val="20000"/>
                    <a:lumOff val="8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D-0B11-408B-B9A7-2C2984287608}"/>
                </c:ext>
              </c:extLst>
            </c:dLbl>
            <c:dLbl>
              <c:idx val="7"/>
              <c:layout>
                <c:manualLayout>
                  <c:x val="-7.6774245421263841E-3"/>
                  <c:y val="-2.93157992537167E-2"/>
                </c:manualLayout>
              </c:layout>
              <c:spPr>
                <a:solidFill>
                  <a:schemeClr val="bg1">
                    <a:lumMod val="7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4.1750776464722361E-2"/>
                    </c:manualLayout>
                  </c15:layout>
                </c:ext>
                <c:ext xmlns:c16="http://schemas.microsoft.com/office/drawing/2014/chart" uri="{C3380CC4-5D6E-409C-BE32-E72D297353CC}">
                  <c16:uniqueId val="{0000000F-0B11-408B-B9A7-2C2984287608}"/>
                </c:ext>
              </c:extLst>
            </c:dLbl>
            <c:dLbl>
              <c:idx val="8"/>
              <c:layout>
                <c:manualLayout>
                  <c:x val="1.5113337943908963E-7"/>
                  <c:y val="-8.3061431218863988E-2"/>
                </c:manualLayout>
              </c:layout>
              <c:spPr>
                <a:solidFill>
                  <a:schemeClr val="bg1">
                    <a:lumMod val="85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6864809922436244E-2"/>
                    </c:manualLayout>
                  </c15:layout>
                </c:ext>
                <c:ext xmlns:c16="http://schemas.microsoft.com/office/drawing/2014/chart" uri="{C3380CC4-5D6E-409C-BE32-E72D297353CC}">
                  <c16:uniqueId val="{00000011-0B11-408B-B9A7-2C2984287608}"/>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0</c:f>
              <c:strCache>
                <c:ptCount val="9"/>
                <c:pt idx="0">
                  <c:v>Transportation</c:v>
                </c:pt>
                <c:pt idx="1">
                  <c:v>Consumer Discretionary</c:v>
                </c:pt>
                <c:pt idx="2">
                  <c:v>Technology</c:v>
                </c:pt>
                <c:pt idx="3">
                  <c:v>Consumer Staples</c:v>
                </c:pt>
                <c:pt idx="4">
                  <c:v>Materials</c:v>
                </c:pt>
                <c:pt idx="5">
                  <c:v>Financial services</c:v>
                </c:pt>
                <c:pt idx="6">
                  <c:v>Healthcare</c:v>
                </c:pt>
                <c:pt idx="7">
                  <c:v>Utilities</c:v>
                </c:pt>
                <c:pt idx="8">
                  <c:v>Cash</c:v>
                </c:pt>
              </c:strCache>
            </c:strRef>
          </c:cat>
          <c:val>
            <c:numRef>
              <c:f>Sheet1!$B$2:$B$10</c:f>
              <c:numCache>
                <c:formatCode>0.0%</c:formatCode>
                <c:ptCount val="9"/>
                <c:pt idx="0">
                  <c:v>4.2671217376040668E-2</c:v>
                </c:pt>
                <c:pt idx="1">
                  <c:v>3.2037939503930656E-2</c:v>
                </c:pt>
                <c:pt idx="2">
                  <c:v>0.36601875817929019</c:v>
                </c:pt>
                <c:pt idx="3">
                  <c:v>0.21543000978924884</c:v>
                </c:pt>
                <c:pt idx="4">
                  <c:v>0.13253598158121249</c:v>
                </c:pt>
                <c:pt idx="5">
                  <c:v>0.13092336006006913</c:v>
                </c:pt>
                <c:pt idx="6">
                  <c:v>2.3596700458470694E-2</c:v>
                </c:pt>
                <c:pt idx="7">
                  <c:v>4.332629015193399E-2</c:v>
                </c:pt>
                <c:pt idx="8">
                  <c:v>1.3459742899803414E-2</c:v>
                </c:pt>
              </c:numCache>
            </c:numRef>
          </c:val>
          <c:extLst>
            <c:ext xmlns:c16="http://schemas.microsoft.com/office/drawing/2014/chart" uri="{C3380CC4-5D6E-409C-BE32-E72D297353CC}">
              <c16:uniqueId val="{00000012-0B11-408B-B9A7-2C298428760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8888888888889"/>
          <c:y val="0.10833333333333334"/>
          <c:w val="0.48333333333333334"/>
          <c:h val="0.72499999999999998"/>
        </c:manualLayout>
      </c:layout>
      <c:doughnutChart>
        <c:varyColors val="1"/>
        <c:ser>
          <c:idx val="0"/>
          <c:order val="0"/>
          <c:tx>
            <c:strRef>
              <c:f>Sheet1!$B$1</c:f>
              <c:strCache>
                <c:ptCount val="1"/>
                <c:pt idx="0">
                  <c:v>Column1</c:v>
                </c:pt>
              </c:strCache>
            </c:strRef>
          </c:tx>
          <c:spPr>
            <a:ln w="19050">
              <a:solidFill>
                <a:schemeClr val="bg1"/>
              </a:solidFill>
              <a:prstDash val="solid"/>
            </a:ln>
          </c:spPr>
          <c:dPt>
            <c:idx val="0"/>
            <c:bubble3D val="0"/>
            <c:spPr>
              <a:solidFill>
                <a:schemeClr val="accent6">
                  <a:lumMod val="50000"/>
                  <a:alpha val="70000"/>
                </a:schemeClr>
              </a:solidFill>
              <a:ln w="19050">
                <a:solidFill>
                  <a:schemeClr val="bg1"/>
                </a:solidFill>
                <a:prstDash val="solid"/>
              </a:ln>
              <a:effectLst/>
            </c:spPr>
            <c:extLst>
              <c:ext xmlns:c16="http://schemas.microsoft.com/office/drawing/2014/chart" uri="{C3380CC4-5D6E-409C-BE32-E72D297353CC}">
                <c16:uniqueId val="{00000001-221E-412B-872B-E2E00E15FA86}"/>
              </c:ext>
            </c:extLst>
          </c:dPt>
          <c:dPt>
            <c:idx val="1"/>
            <c:bubble3D val="0"/>
            <c:spPr>
              <a:solidFill>
                <a:schemeClr val="accent6">
                  <a:alpha val="70000"/>
                </a:schemeClr>
              </a:solidFill>
              <a:ln w="19050">
                <a:solidFill>
                  <a:schemeClr val="bg1"/>
                </a:solidFill>
                <a:prstDash val="solid"/>
              </a:ln>
              <a:effectLst/>
            </c:spPr>
            <c:extLst>
              <c:ext xmlns:c16="http://schemas.microsoft.com/office/drawing/2014/chart" uri="{C3380CC4-5D6E-409C-BE32-E72D297353CC}">
                <c16:uniqueId val="{00000003-221E-412B-872B-E2E00E15FA86}"/>
              </c:ext>
            </c:extLst>
          </c:dPt>
          <c:dPt>
            <c:idx val="2"/>
            <c:bubble3D val="0"/>
            <c:spPr>
              <a:solidFill>
                <a:schemeClr val="accent6">
                  <a:lumMod val="60000"/>
                  <a:lumOff val="40000"/>
                  <a:alpha val="70000"/>
                </a:schemeClr>
              </a:solidFill>
              <a:ln w="19050">
                <a:solidFill>
                  <a:schemeClr val="bg1"/>
                </a:solidFill>
                <a:prstDash val="solid"/>
              </a:ln>
              <a:effectLst/>
            </c:spPr>
            <c:extLst>
              <c:ext xmlns:c16="http://schemas.microsoft.com/office/drawing/2014/chart" uri="{C3380CC4-5D6E-409C-BE32-E72D297353CC}">
                <c16:uniqueId val="{00000005-221E-412B-872B-E2E00E15FA86}"/>
              </c:ext>
            </c:extLst>
          </c:dPt>
          <c:dPt>
            <c:idx val="3"/>
            <c:bubble3D val="0"/>
            <c:spPr>
              <a:solidFill>
                <a:schemeClr val="accent6">
                  <a:lumMod val="40000"/>
                  <a:lumOff val="60000"/>
                  <a:alpha val="70000"/>
                </a:schemeClr>
              </a:solidFill>
              <a:ln w="19050">
                <a:solidFill>
                  <a:schemeClr val="bg1"/>
                </a:solidFill>
                <a:prstDash val="solid"/>
              </a:ln>
              <a:effectLst/>
            </c:spPr>
            <c:extLst>
              <c:ext xmlns:c16="http://schemas.microsoft.com/office/drawing/2014/chart" uri="{C3380CC4-5D6E-409C-BE32-E72D297353CC}">
                <c16:uniqueId val="{00000007-221E-412B-872B-E2E00E15FA86}"/>
              </c:ext>
            </c:extLst>
          </c:dPt>
          <c:dPt>
            <c:idx val="4"/>
            <c:bubble3D val="0"/>
            <c:spPr>
              <a:solidFill>
                <a:schemeClr val="accent6">
                  <a:lumMod val="40000"/>
                  <a:lumOff val="60000"/>
                </a:schemeClr>
              </a:solidFill>
              <a:ln w="19050">
                <a:solidFill>
                  <a:schemeClr val="bg1"/>
                </a:solidFill>
                <a:prstDash val="solid"/>
              </a:ln>
              <a:effectLst/>
            </c:spPr>
            <c:extLst>
              <c:ext xmlns:c16="http://schemas.microsoft.com/office/drawing/2014/chart" uri="{C3380CC4-5D6E-409C-BE32-E72D297353CC}">
                <c16:uniqueId val="{00000009-221E-412B-872B-E2E00E15FA86}"/>
              </c:ext>
            </c:extLst>
          </c:dPt>
          <c:dLbls>
            <c:dLbl>
              <c:idx val="4"/>
              <c:layout>
                <c:manualLayout>
                  <c:x val="1.5113337943908963E-7"/>
                  <c:y val="-3.4201765796002842E-2"/>
                </c:manualLayout>
              </c:layout>
              <c:numFmt formatCode="0%" sourceLinked="0"/>
              <c:spPr>
                <a:solidFill>
                  <a:schemeClr val="accent6">
                    <a:lumMod val="40000"/>
                    <a:lumOff val="60000"/>
                  </a:schemeClr>
                </a:solid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6276714336149631E-2"/>
                      <c:h val="3.1978843380150127E-2"/>
                    </c:manualLayout>
                  </c15:layout>
                </c:ext>
                <c:ext xmlns:c16="http://schemas.microsoft.com/office/drawing/2014/chart" uri="{C3380CC4-5D6E-409C-BE32-E72D297353CC}">
                  <c16:uniqueId val="{00000009-221E-412B-872B-E2E00E15FA8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Europe</c:v>
                </c:pt>
                <c:pt idx="1">
                  <c:v>North America</c:v>
                </c:pt>
                <c:pt idx="2">
                  <c:v>Africa</c:v>
                </c:pt>
                <c:pt idx="3">
                  <c:v>Asia</c:v>
                </c:pt>
                <c:pt idx="4">
                  <c:v>Cash</c:v>
                </c:pt>
              </c:strCache>
            </c:strRef>
          </c:cat>
          <c:val>
            <c:numRef>
              <c:f>Sheet1!$B$2:$B$6</c:f>
              <c:numCache>
                <c:formatCode>0%</c:formatCode>
                <c:ptCount val="5"/>
                <c:pt idx="0">
                  <c:v>0.12377679987428201</c:v>
                </c:pt>
                <c:pt idx="1">
                  <c:v>0.74052136176344796</c:v>
                </c:pt>
                <c:pt idx="2">
                  <c:v>4.481364605817488E-2</c:v>
                </c:pt>
                <c:pt idx="3">
                  <c:v>7.7428449404291569E-2</c:v>
                </c:pt>
                <c:pt idx="4">
                  <c:v>1.3459742899803409E-2</c:v>
                </c:pt>
              </c:numCache>
            </c:numRef>
          </c:val>
          <c:extLst>
            <c:ext xmlns:c16="http://schemas.microsoft.com/office/drawing/2014/chart" uri="{C3380CC4-5D6E-409C-BE32-E72D297353CC}">
              <c16:uniqueId val="{0000000A-221E-412B-872B-E2E00E15FA86}"/>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ZM"/>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111</cdr:x>
      <cdr:y>0.01852</cdr:y>
    </cdr:from>
    <cdr:to>
      <cdr:x>0.01111</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177D4A4-2BD7-A4F5-363F-90280D954C74}"/>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kern="120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83B0B4-4DB8-4356-89CF-1B6DF44DDB31}" type="datetimeFigureOut">
              <a:rPr lang="en-ZA" smtClean="0"/>
              <a:t>2025/10/29</a:t>
            </a:fld>
            <a:endParaRPr lang="en-ZA"/>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0DABF5-BA7F-4826-9472-9B655D25709B}" type="slidenum">
              <a:rPr lang="en-ZA" smtClean="0"/>
              <a:t>‹#›</a:t>
            </a:fld>
            <a:endParaRPr lang="en-ZA"/>
          </a:p>
        </p:txBody>
      </p:sp>
    </p:spTree>
    <p:extLst>
      <p:ext uri="{BB962C8B-B14F-4D97-AF65-F5344CB8AC3E}">
        <p14:creationId xmlns:p14="http://schemas.microsoft.com/office/powerpoint/2010/main" val="140558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a:p>
        </p:txBody>
      </p:sp>
      <p:sp>
        <p:nvSpPr>
          <p:cNvPr id="4" name="Pladsholder til slidenummer 3"/>
          <p:cNvSpPr>
            <a:spLocks noGrp="1"/>
          </p:cNvSpPr>
          <p:nvPr>
            <p:ph type="sldNum" sz="quarter" idx="5"/>
          </p:nvPr>
        </p:nvSpPr>
        <p:spPr/>
        <p:txBody>
          <a:bodyPr/>
          <a:lstStyle/>
          <a:p>
            <a:fld id="{650DABF5-BA7F-4826-9472-9B655D25709B}" type="slidenum">
              <a:rPr lang="en-ZA" smtClean="0"/>
              <a:t>1</a:t>
            </a:fld>
            <a:endParaRPr lang="en-ZA"/>
          </a:p>
        </p:txBody>
      </p:sp>
    </p:spTree>
    <p:extLst>
      <p:ext uri="{BB962C8B-B14F-4D97-AF65-F5344CB8AC3E}">
        <p14:creationId xmlns:p14="http://schemas.microsoft.com/office/powerpoint/2010/main" val="3095676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84A5AF-FF03-F7F2-3CE6-1602601F8A1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47D27EC-E08E-F506-4546-8B2A87D65579}"/>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C25348CF-22CF-96A1-7361-92C86CE0430A}"/>
              </a:ext>
            </a:extLst>
          </p:cNvPr>
          <p:cNvSpPr>
            <a:spLocks noGrp="1"/>
          </p:cNvSpPr>
          <p:nvPr>
            <p:ph type="body" idx="1"/>
          </p:nvPr>
        </p:nvSpPr>
        <p:spPr/>
        <p:txBody>
          <a:bodyPr/>
          <a:lstStyle/>
          <a:p>
            <a:endParaRPr lang="en-GB"/>
          </a:p>
        </p:txBody>
      </p:sp>
      <p:sp>
        <p:nvSpPr>
          <p:cNvPr id="4" name="Pladsholder til slidenummer 3">
            <a:extLst>
              <a:ext uri="{FF2B5EF4-FFF2-40B4-BE49-F238E27FC236}">
                <a16:creationId xmlns:a16="http://schemas.microsoft.com/office/drawing/2014/main" id="{938BFA3D-73A0-D53D-982C-61E3ED42827C}"/>
              </a:ext>
            </a:extLst>
          </p:cNvPr>
          <p:cNvSpPr>
            <a:spLocks noGrp="1"/>
          </p:cNvSpPr>
          <p:nvPr>
            <p:ph type="sldNum" sz="quarter" idx="5"/>
          </p:nvPr>
        </p:nvSpPr>
        <p:spPr/>
        <p:txBody>
          <a:bodyPr/>
          <a:lstStyle/>
          <a:p>
            <a:fld id="{650DABF5-BA7F-4826-9472-9B655D25709B}" type="slidenum">
              <a:rPr lang="en-ZA" smtClean="0"/>
              <a:t>2</a:t>
            </a:fld>
            <a:endParaRPr lang="en-ZA"/>
          </a:p>
        </p:txBody>
      </p:sp>
    </p:spTree>
    <p:extLst>
      <p:ext uri="{BB962C8B-B14F-4D97-AF65-F5344CB8AC3E}">
        <p14:creationId xmlns:p14="http://schemas.microsoft.com/office/powerpoint/2010/main" val="3419577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185574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219464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368578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581671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9147E2-1A9D-4971-9230-11EE99FA0237}" type="datetimeFigureOut">
              <a:rPr lang="en-ZA" smtClean="0"/>
              <a:t>2025/10/2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19021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420764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99147E2-1A9D-4971-9230-11EE99FA0237}" type="datetimeFigureOut">
              <a:rPr lang="en-ZA" smtClean="0"/>
              <a:t>2025/10/29</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63695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9147E2-1A9D-4971-9230-11EE99FA0237}" type="datetimeFigureOut">
              <a:rPr lang="en-ZA" smtClean="0"/>
              <a:t>2025/10/29</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75198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C92C441E-A24D-36FE-C833-C05192970D1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Date Placeholder 1"/>
          <p:cNvSpPr>
            <a:spLocks noGrp="1"/>
          </p:cNvSpPr>
          <p:nvPr>
            <p:ph type="dt" sz="half" idx="10"/>
          </p:nvPr>
        </p:nvSpPr>
        <p:spPr/>
        <p:txBody>
          <a:bodyPr/>
          <a:lstStyle/>
          <a:p>
            <a:fld id="{899147E2-1A9D-4971-9230-11EE99FA0237}" type="datetimeFigureOut">
              <a:rPr lang="en-ZA" smtClean="0"/>
              <a:t>2025/10/29</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709778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3447780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99147E2-1A9D-4971-9230-11EE99FA0237}" type="datetimeFigureOut">
              <a:rPr lang="en-ZA" smtClean="0"/>
              <a:t>2025/10/2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1079F54-34F3-4503-B9A3-E06A6762BE0B}" type="slidenum">
              <a:rPr lang="en-ZA" smtClean="0"/>
              <a:t>‹#›</a:t>
            </a:fld>
            <a:endParaRPr lang="en-ZA"/>
          </a:p>
        </p:txBody>
      </p:sp>
    </p:spTree>
    <p:extLst>
      <p:ext uri="{BB962C8B-B14F-4D97-AF65-F5344CB8AC3E}">
        <p14:creationId xmlns:p14="http://schemas.microsoft.com/office/powerpoint/2010/main" val="23831785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899147E2-1A9D-4971-9230-11EE99FA0237}" type="datetimeFigureOut">
              <a:rPr lang="en-ZA" smtClean="0"/>
              <a:t>2025/10/29</a:t>
            </a:fld>
            <a:endParaRPr lang="en-ZA"/>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01079F54-34F3-4503-B9A3-E06A6762BE0B}" type="slidenum">
              <a:rPr lang="en-ZA" smtClean="0"/>
              <a:t>‹#›</a:t>
            </a:fld>
            <a:endParaRPr lang="en-ZA"/>
          </a:p>
        </p:txBody>
      </p:sp>
    </p:spTree>
    <p:extLst>
      <p:ext uri="{BB962C8B-B14F-4D97-AF65-F5344CB8AC3E}">
        <p14:creationId xmlns:p14="http://schemas.microsoft.com/office/powerpoint/2010/main" val="28170454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8.svg"/><Relationship Id="rId18" Type="http://schemas.openxmlformats.org/officeDocument/2006/relationships/image" Target="../media/image11.png"/><Relationship Id="rId3" Type="http://schemas.openxmlformats.org/officeDocument/2006/relationships/image" Target="../media/image1.png"/><Relationship Id="rId21" Type="http://schemas.openxmlformats.org/officeDocument/2006/relationships/image" Target="../media/image13.png"/><Relationship Id="rId7" Type="http://schemas.openxmlformats.org/officeDocument/2006/relationships/hyperlink" Target="tel:+260%20954%20715%20547" TargetMode="External"/><Relationship Id="rId12" Type="http://schemas.openxmlformats.org/officeDocument/2006/relationships/image" Target="../media/image7.png"/><Relationship Id="rId17" Type="http://schemas.microsoft.com/office/2007/relationships/hdphoto" Target="../media/hdphoto2.wdp"/><Relationship Id="rId2" Type="http://schemas.openxmlformats.org/officeDocument/2006/relationships/notesSlide" Target="../notesSlides/notesSlide1.xml"/><Relationship Id="rId16" Type="http://schemas.openxmlformats.org/officeDocument/2006/relationships/image" Target="../media/image10.png"/><Relationship Id="rId20" Type="http://schemas.microsoft.com/office/2007/relationships/hdphoto" Target="../media/hdphoto3.wdp"/><Relationship Id="rId1" Type="http://schemas.openxmlformats.org/officeDocument/2006/relationships/slideLayout" Target="../slideLayouts/slideLayout7.xml"/><Relationship Id="rId6" Type="http://schemas.openxmlformats.org/officeDocument/2006/relationships/hyperlink" Target="http://www.kukulacapital.com/" TargetMode="External"/><Relationship Id="rId11" Type="http://schemas.openxmlformats.org/officeDocument/2006/relationships/image" Target="../media/image6.svg"/><Relationship Id="rId5" Type="http://schemas.openxmlformats.org/officeDocument/2006/relationships/hyperlink" Target="mailto::%20assetmanagement@kukulacapital.com" TargetMode="External"/><Relationship Id="rId15" Type="http://schemas.microsoft.com/office/2007/relationships/hdphoto" Target="../media/hdphoto1.wdp"/><Relationship Id="rId23" Type="http://schemas.openxmlformats.org/officeDocument/2006/relationships/chart" Target="../charts/chart1.xml"/><Relationship Id="rId10" Type="http://schemas.openxmlformats.org/officeDocument/2006/relationships/image" Target="../media/image5.png"/><Relationship Id="rId19" Type="http://schemas.openxmlformats.org/officeDocument/2006/relationships/image" Target="../media/image12.png"/><Relationship Id="rId4" Type="http://schemas.openxmlformats.org/officeDocument/2006/relationships/image" Target="../media/image2.png"/><Relationship Id="rId9" Type="http://schemas.openxmlformats.org/officeDocument/2006/relationships/image" Target="../media/image4.svg"/><Relationship Id="rId14" Type="http://schemas.openxmlformats.org/officeDocument/2006/relationships/image" Target="../media/image9.png"/><Relationship Id="rId22" Type="http://schemas.microsoft.com/office/2007/relationships/hdphoto" Target="../media/hdphoto4.wdp"/></Relationships>
</file>

<file path=ppt/slides/_rels/slide2.xml.rels><?xml version="1.0" encoding="UTF-8" standalone="yes"?>
<Relationships xmlns="http://schemas.openxmlformats.org/package/2006/relationships"><Relationship Id="rId13" Type="http://schemas.openxmlformats.org/officeDocument/2006/relationships/image" Target="../media/image8.svg"/><Relationship Id="rId18" Type="http://schemas.openxmlformats.org/officeDocument/2006/relationships/image" Target="../media/image18.png"/><Relationship Id="rId26" Type="http://schemas.openxmlformats.org/officeDocument/2006/relationships/image" Target="../media/image26.png"/><Relationship Id="rId39" Type="http://schemas.openxmlformats.org/officeDocument/2006/relationships/image" Target="../media/image39.svg"/><Relationship Id="rId21" Type="http://schemas.openxmlformats.org/officeDocument/2006/relationships/image" Target="../media/image21.svg"/><Relationship Id="rId34" Type="http://schemas.openxmlformats.org/officeDocument/2006/relationships/image" Target="../media/image34.png"/><Relationship Id="rId42" Type="http://schemas.openxmlformats.org/officeDocument/2006/relationships/image" Target="../media/image42.png"/><Relationship Id="rId47" Type="http://schemas.microsoft.com/office/2007/relationships/hdphoto" Target="../media/hdphoto7.wdp"/><Relationship Id="rId7" Type="http://schemas.openxmlformats.org/officeDocument/2006/relationships/hyperlink" Target="tel:+260%20954%20715%20547" TargetMode="External"/><Relationship Id="rId2" Type="http://schemas.openxmlformats.org/officeDocument/2006/relationships/notesSlide" Target="../notesSlides/notesSlide2.xml"/><Relationship Id="rId16" Type="http://schemas.openxmlformats.org/officeDocument/2006/relationships/image" Target="../media/image16.png"/><Relationship Id="rId29" Type="http://schemas.openxmlformats.org/officeDocument/2006/relationships/image" Target="../media/image29.svg"/><Relationship Id="rId11" Type="http://schemas.openxmlformats.org/officeDocument/2006/relationships/image" Target="../media/image6.svg"/><Relationship Id="rId24" Type="http://schemas.openxmlformats.org/officeDocument/2006/relationships/image" Target="../media/image24.png"/><Relationship Id="rId32" Type="http://schemas.openxmlformats.org/officeDocument/2006/relationships/image" Target="../media/image32.png"/><Relationship Id="rId37" Type="http://schemas.openxmlformats.org/officeDocument/2006/relationships/image" Target="../media/image37.svg"/><Relationship Id="rId40" Type="http://schemas.openxmlformats.org/officeDocument/2006/relationships/image" Target="../media/image40.png"/><Relationship Id="rId45" Type="http://schemas.microsoft.com/office/2007/relationships/hdphoto" Target="../media/hdphoto6.wdp"/><Relationship Id="rId5" Type="http://schemas.openxmlformats.org/officeDocument/2006/relationships/hyperlink" Target="mailto::%20assetmanagement@kukulacapital.com" TargetMode="External"/><Relationship Id="rId15" Type="http://schemas.openxmlformats.org/officeDocument/2006/relationships/image" Target="../media/image15.svg"/><Relationship Id="rId23" Type="http://schemas.openxmlformats.org/officeDocument/2006/relationships/image" Target="../media/image23.svg"/><Relationship Id="rId28" Type="http://schemas.openxmlformats.org/officeDocument/2006/relationships/image" Target="../media/image28.png"/><Relationship Id="rId36" Type="http://schemas.openxmlformats.org/officeDocument/2006/relationships/image" Target="../media/image36.png"/><Relationship Id="rId49" Type="http://schemas.openxmlformats.org/officeDocument/2006/relationships/chart" Target="../charts/chart3.xml"/><Relationship Id="rId10" Type="http://schemas.openxmlformats.org/officeDocument/2006/relationships/image" Target="../media/image5.png"/><Relationship Id="rId19" Type="http://schemas.openxmlformats.org/officeDocument/2006/relationships/image" Target="../media/image19.svg"/><Relationship Id="rId31" Type="http://schemas.openxmlformats.org/officeDocument/2006/relationships/image" Target="../media/image31.svg"/><Relationship Id="rId44" Type="http://schemas.openxmlformats.org/officeDocument/2006/relationships/image" Target="../media/image43.png"/><Relationship Id="rId4" Type="http://schemas.openxmlformats.org/officeDocument/2006/relationships/image" Target="../media/image2.png"/><Relationship Id="rId9" Type="http://schemas.openxmlformats.org/officeDocument/2006/relationships/image" Target="../media/image4.svg"/><Relationship Id="rId14" Type="http://schemas.openxmlformats.org/officeDocument/2006/relationships/image" Target="../media/image14.png"/><Relationship Id="rId22" Type="http://schemas.openxmlformats.org/officeDocument/2006/relationships/image" Target="../media/image22.png"/><Relationship Id="rId27" Type="http://schemas.openxmlformats.org/officeDocument/2006/relationships/image" Target="../media/image27.svg"/><Relationship Id="rId30" Type="http://schemas.openxmlformats.org/officeDocument/2006/relationships/image" Target="../media/image30.png"/><Relationship Id="rId35" Type="http://schemas.openxmlformats.org/officeDocument/2006/relationships/image" Target="../media/image35.svg"/><Relationship Id="rId43" Type="http://schemas.microsoft.com/office/2007/relationships/hdphoto" Target="../media/hdphoto5.wdp"/><Relationship Id="rId48" Type="http://schemas.openxmlformats.org/officeDocument/2006/relationships/chart" Target="../charts/chart2.xml"/><Relationship Id="rId8" Type="http://schemas.openxmlformats.org/officeDocument/2006/relationships/image" Target="../media/image3.png"/><Relationship Id="rId3" Type="http://schemas.openxmlformats.org/officeDocument/2006/relationships/image" Target="../media/image1.png"/><Relationship Id="rId12" Type="http://schemas.openxmlformats.org/officeDocument/2006/relationships/image" Target="../media/image7.png"/><Relationship Id="rId17" Type="http://schemas.openxmlformats.org/officeDocument/2006/relationships/image" Target="../media/image17.svg"/><Relationship Id="rId25" Type="http://schemas.openxmlformats.org/officeDocument/2006/relationships/image" Target="../media/image25.svg"/><Relationship Id="rId33" Type="http://schemas.openxmlformats.org/officeDocument/2006/relationships/image" Target="../media/image33.svg"/><Relationship Id="rId38" Type="http://schemas.openxmlformats.org/officeDocument/2006/relationships/image" Target="../media/image38.png"/><Relationship Id="rId46" Type="http://schemas.openxmlformats.org/officeDocument/2006/relationships/image" Target="../media/image44.png"/><Relationship Id="rId20" Type="http://schemas.openxmlformats.org/officeDocument/2006/relationships/image" Target="../media/image20.png"/><Relationship Id="rId41" Type="http://schemas.openxmlformats.org/officeDocument/2006/relationships/image" Target="../media/image41.svg"/><Relationship Id="rId1" Type="http://schemas.openxmlformats.org/officeDocument/2006/relationships/slideLayout" Target="../slideLayouts/slideLayout7.xml"/><Relationship Id="rId6" Type="http://schemas.openxmlformats.org/officeDocument/2006/relationships/hyperlink" Target="http://www.kukulacapital.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7817319-FBEE-F9F8-A63A-DAF0A4BCAD55}"/>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05FBD931-77C6-E74C-6837-20795E9F3819}"/>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F7FF33B2-B67E-2C47-A922-E3B18CE0ACAA}"/>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AA4FED92-FC9E-4AFE-A0C3-5F67F10831EF}"/>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sp>
        <p:nvSpPr>
          <p:cNvPr id="61" name="PORTFOLIO_NAME">
            <a:extLst>
              <a:ext uri="{FF2B5EF4-FFF2-40B4-BE49-F238E27FC236}">
                <a16:creationId xmlns:a16="http://schemas.microsoft.com/office/drawing/2014/main" id="{B2735D28-9572-422E-9448-96127A3D51A0}"/>
              </a:ext>
            </a:extLst>
          </p:cNvPr>
          <p:cNvSpPr txBox="1"/>
          <p:nvPr/>
        </p:nvSpPr>
        <p:spPr>
          <a:xfrm>
            <a:off x="292608" y="348002"/>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
            <a:extLst>
              <a:ext uri="{FF2B5EF4-FFF2-40B4-BE49-F238E27FC236}">
                <a16:creationId xmlns:a16="http://schemas.microsoft.com/office/drawing/2014/main" id="{54AD899D-67A1-4034-848B-0D2C28E83CE6}"/>
              </a:ext>
            </a:extLst>
          </p:cNvPr>
          <p:cNvSpPr txBox="1"/>
          <p:nvPr/>
        </p:nvSpPr>
        <p:spPr>
          <a:xfrm>
            <a:off x="292608" y="588777"/>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a:t>
            </a:r>
            <a:r>
              <a:rPr kumimoji="0" lang="en-US" sz="1100" b="0" i="0" u="none" strike="noStrike" kern="1200" cap="none" spc="0" normalizeH="0" baseline="0" noProof="0" dirty="0" err="1">
                <a:ln>
                  <a:noFill/>
                </a:ln>
                <a:solidFill>
                  <a:prstClr val="white"/>
                </a:solidFill>
                <a:effectLst/>
                <a:uLnTx/>
                <a:uFillTx/>
                <a:latin typeface="+mj-lt"/>
              </a:rPr>
              <a:t>Sheet|Issued</a:t>
            </a:r>
            <a:r>
              <a:rPr kumimoji="0" lang="en-US" sz="1100" b="0" i="0" u="none" strike="noStrike" kern="1200" cap="none" spc="0" normalizeH="0" baseline="0" noProof="0" dirty="0">
                <a:ln>
                  <a:noFill/>
                </a:ln>
                <a:solidFill>
                  <a:prstClr val="white"/>
                </a:solidFill>
                <a:effectLst/>
                <a:uLnTx/>
                <a:uFillTx/>
                <a:latin typeface="+mj-lt"/>
              </a:rPr>
              <a:t> 30</a:t>
            </a:r>
            <a:r>
              <a:rPr lang="en-US" sz="1100" dirty="0">
                <a:solidFill>
                  <a:prstClr val="white"/>
                </a:solidFill>
                <a:latin typeface="+mj-lt"/>
              </a:rPr>
              <a:t> September </a:t>
            </a:r>
            <a:r>
              <a:rPr kumimoji="0" lang="en-US" sz="1100" b="0" i="0" u="none" strike="noStrike" kern="1200" cap="none" spc="0" normalizeH="0" baseline="0" noProof="0" dirty="0">
                <a:ln>
                  <a:noFill/>
                </a:ln>
                <a:solidFill>
                  <a:prstClr val="white"/>
                </a:solidFill>
                <a:effectLst/>
                <a:uLnTx/>
                <a:uFillTx/>
                <a:latin typeface="+mj-lt"/>
              </a:rPr>
              <a:t>2025</a:t>
            </a:r>
          </a:p>
        </p:txBody>
      </p:sp>
      <p:grpSp>
        <p:nvGrpSpPr>
          <p:cNvPr id="1028" name="Group 1027">
            <a:extLst>
              <a:ext uri="{FF2B5EF4-FFF2-40B4-BE49-F238E27FC236}">
                <a16:creationId xmlns:a16="http://schemas.microsoft.com/office/drawing/2014/main" id="{CAABA66D-E5A9-A768-B6E3-25B349636CF6}"/>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960CACED-06CB-3EFD-A814-35C4F800DF45}"/>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90042EF2-03E5-FB3F-427B-CD408CFBC546}"/>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85142DE5-3361-D9D8-B2E7-6EE43510FC64}"/>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09BDD64A-648A-D3B1-1CD1-D88F68203600}"/>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A5111EF6-7BB1-A829-52E0-DABA4A249720}"/>
              </a:ext>
            </a:extLst>
          </p:cNvPr>
          <p:cNvSpPr/>
          <p:nvPr/>
        </p:nvSpPr>
        <p:spPr>
          <a:xfrm>
            <a:off x="292608"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93ECBF78-E095-0FD7-1064-267F2E9C4CC2}"/>
              </a:ext>
            </a:extLst>
          </p:cNvPr>
          <p:cNvSpPr/>
          <p:nvPr/>
        </p:nvSpPr>
        <p:spPr>
          <a:xfrm>
            <a:off x="292608" y="6853355"/>
            <a:ext cx="6272784" cy="277222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56CCE26D-359B-7FB8-88E1-4FA9AE8978ED}"/>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1</a:t>
            </a:r>
            <a:endParaRPr lang="en-GB" sz="1200" dirty="0">
              <a:solidFill>
                <a:schemeClr val="bg1"/>
              </a:solidFill>
            </a:endParaRPr>
          </a:p>
        </p:txBody>
      </p:sp>
      <p:sp>
        <p:nvSpPr>
          <p:cNvPr id="1048" name="Rectangle 1047">
            <a:extLst>
              <a:ext uri="{FF2B5EF4-FFF2-40B4-BE49-F238E27FC236}">
                <a16:creationId xmlns:a16="http://schemas.microsoft.com/office/drawing/2014/main" id="{7962D9A7-5942-AC53-AE92-AF721B36A947}"/>
              </a:ext>
            </a:extLst>
          </p:cNvPr>
          <p:cNvSpPr/>
          <p:nvPr/>
        </p:nvSpPr>
        <p:spPr>
          <a:xfrm>
            <a:off x="3483000" y="1013780"/>
            <a:ext cx="3082392" cy="5731577"/>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06B72A2C-5F73-D79D-13B4-8D727F7F5D7D}"/>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0A71B9AF-2A7E-58DB-5199-3098FB55D63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AA11C72D-7F22-8F5E-781C-48AC4F0C3D51}"/>
                </a:ext>
              </a:extLst>
            </p:cNvPr>
            <p:cNvSpPr/>
            <p:nvPr/>
          </p:nvSpPr>
          <p:spPr>
            <a:xfrm>
              <a:off x="30022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I</a:t>
              </a:r>
              <a:r>
                <a:rPr lang="en-GB" sz="1000" b="1" dirty="0" err="1">
                  <a:solidFill>
                    <a:schemeClr val="bg1"/>
                  </a:solidFill>
                  <a:latin typeface="Bierstadt"/>
                </a:rPr>
                <a:t>nvestment</a:t>
              </a:r>
              <a:r>
                <a:rPr lang="en-GB" sz="1000" b="1" dirty="0">
                  <a:solidFill>
                    <a:schemeClr val="bg1"/>
                  </a:solidFill>
                  <a:latin typeface="Bierstadt"/>
                </a:rPr>
                <a:t> objective &amp; philosophy</a:t>
              </a:r>
            </a:p>
          </p:txBody>
        </p:sp>
      </p:grpSp>
      <p:sp>
        <p:nvSpPr>
          <p:cNvPr id="1051" name="TextBox 1050">
            <a:extLst>
              <a:ext uri="{FF2B5EF4-FFF2-40B4-BE49-F238E27FC236}">
                <a16:creationId xmlns:a16="http://schemas.microsoft.com/office/drawing/2014/main" id="{D48B7A90-0C92-ED60-2FC0-B121F36CC0F4}"/>
              </a:ext>
            </a:extLst>
          </p:cNvPr>
          <p:cNvSpPr txBox="1"/>
          <p:nvPr/>
        </p:nvSpPr>
        <p:spPr>
          <a:xfrm>
            <a:off x="292607" y="1246239"/>
            <a:ext cx="3082392" cy="230832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Kukula Global Growth Portfolio is a moderate- to high-risk, growth-oriented equity portfolio designed to deliver long-term returns through capital appreciation and dividends. The portfolio seeks exposure to global leaders in sectors driving structural change, including technology, financials, and critical resources, while maintaining diversification across regions and industries.</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900" dirty="0">
              <a:solidFill>
                <a:schemeClr val="bg1"/>
              </a:solidFill>
              <a:latin typeface="Bierstadt" panose="020B0004020202020204" pitchFamily="34" charset="0"/>
              <a:cs typeface="Helvetica"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We invest in responsible, high-quality companies with strong fundamentals, sustainable growth prospects, and sound governance. Our investment process is active and research-driven. Kukula’s portfolio management is characterized by agility, allowing us to swiftly adjust positioning and restructure holdings when market conditions change, protecting value while capturing opportunities in emerging global trends.</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4" name="Group 3">
            <a:extLst>
              <a:ext uri="{FF2B5EF4-FFF2-40B4-BE49-F238E27FC236}">
                <a16:creationId xmlns:a16="http://schemas.microsoft.com/office/drawing/2014/main" id="{2363E094-084C-5C1E-34A6-CE0088951EEF}"/>
              </a:ext>
            </a:extLst>
          </p:cNvPr>
          <p:cNvGrpSpPr/>
          <p:nvPr/>
        </p:nvGrpSpPr>
        <p:grpSpPr>
          <a:xfrm>
            <a:off x="845287" y="4363577"/>
            <a:ext cx="1694214" cy="775351"/>
            <a:chOff x="845287" y="3807317"/>
            <a:chExt cx="1694214" cy="775351"/>
          </a:xfrm>
        </p:grpSpPr>
        <p:cxnSp>
          <p:nvCxnSpPr>
            <p:cNvPr id="1070" name="Straight Connector 1069">
              <a:extLst>
                <a:ext uri="{FF2B5EF4-FFF2-40B4-BE49-F238E27FC236}">
                  <a16:creationId xmlns:a16="http://schemas.microsoft.com/office/drawing/2014/main" id="{2602B7CB-5E08-C13E-40FB-3E3190CAABE5}"/>
                </a:ext>
              </a:extLst>
            </p:cNvPr>
            <p:cNvCxnSpPr/>
            <p:nvPr/>
          </p:nvCxnSpPr>
          <p:spPr>
            <a:xfrm>
              <a:off x="845287" y="3901103"/>
              <a:ext cx="176042" cy="0"/>
            </a:xfrm>
            <a:prstGeom prst="line">
              <a:avLst/>
            </a:prstGeom>
            <a:ln w="38100">
              <a:solidFill>
                <a:srgbClr val="92D050"/>
              </a:solidFill>
              <a:prstDash val="solid"/>
            </a:ln>
          </p:spPr>
          <p:style>
            <a:lnRef idx="1">
              <a:schemeClr val="accent1"/>
            </a:lnRef>
            <a:fillRef idx="0">
              <a:schemeClr val="accent1"/>
            </a:fillRef>
            <a:effectRef idx="0">
              <a:schemeClr val="accent1"/>
            </a:effectRef>
            <a:fontRef idx="minor">
              <a:schemeClr val="tx1"/>
            </a:fontRef>
          </p:style>
        </p:cxnSp>
        <p:sp>
          <p:nvSpPr>
            <p:cNvPr id="1075" name="Rectangle 1074">
              <a:extLst>
                <a:ext uri="{FF2B5EF4-FFF2-40B4-BE49-F238E27FC236}">
                  <a16:creationId xmlns:a16="http://schemas.microsoft.com/office/drawing/2014/main" id="{6025C487-0FBB-0D38-1A73-63B7E914BB20}"/>
                </a:ext>
              </a:extLst>
            </p:cNvPr>
            <p:cNvSpPr/>
            <p:nvPr/>
          </p:nvSpPr>
          <p:spPr>
            <a:xfrm>
              <a:off x="1021329" y="380731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USD)</a:t>
              </a:r>
              <a:endParaRPr lang="en-GB" sz="1400" dirty="0">
                <a:solidFill>
                  <a:schemeClr val="bg1"/>
                </a:solidFill>
                <a:latin typeface="Bierstadt" panose="020B0004020202020204" pitchFamily="34" charset="0"/>
              </a:endParaRPr>
            </a:p>
          </p:txBody>
        </p:sp>
        <p:cxnSp>
          <p:nvCxnSpPr>
            <p:cNvPr id="1068" name="Straight Connector 1067">
              <a:extLst>
                <a:ext uri="{FF2B5EF4-FFF2-40B4-BE49-F238E27FC236}">
                  <a16:creationId xmlns:a16="http://schemas.microsoft.com/office/drawing/2014/main" id="{0EECB6F3-3516-0EF1-ED24-EDF6996DBBAD}"/>
                </a:ext>
              </a:extLst>
            </p:cNvPr>
            <p:cNvCxnSpPr/>
            <p:nvPr/>
          </p:nvCxnSpPr>
          <p:spPr>
            <a:xfrm>
              <a:off x="845287" y="4097029"/>
              <a:ext cx="176042" cy="0"/>
            </a:xfrm>
            <a:prstGeom prst="line">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37B38338-8830-D42A-78E5-19D2D9D00DE1}"/>
                </a:ext>
              </a:extLst>
            </p:cNvPr>
            <p:cNvSpPr/>
            <p:nvPr/>
          </p:nvSpPr>
          <p:spPr>
            <a:xfrm>
              <a:off x="1021329" y="4003243"/>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USD)</a:t>
              </a:r>
              <a:endParaRPr lang="en-GB" sz="1400" dirty="0">
                <a:solidFill>
                  <a:schemeClr val="bg1"/>
                </a:solidFill>
                <a:latin typeface="Bierstadt" panose="020B0004020202020204" pitchFamily="34" charset="0"/>
              </a:endParaRPr>
            </a:p>
          </p:txBody>
        </p:sp>
        <p:cxnSp>
          <p:nvCxnSpPr>
            <p:cNvPr id="1074" name="Straight Connector 1073">
              <a:extLst>
                <a:ext uri="{FF2B5EF4-FFF2-40B4-BE49-F238E27FC236}">
                  <a16:creationId xmlns:a16="http://schemas.microsoft.com/office/drawing/2014/main" id="{01FF496C-1B63-9F7A-E785-BD8601DA11B9}"/>
                </a:ext>
              </a:extLst>
            </p:cNvPr>
            <p:cNvCxnSpPr/>
            <p:nvPr/>
          </p:nvCxnSpPr>
          <p:spPr>
            <a:xfrm>
              <a:off x="845287" y="4292957"/>
              <a:ext cx="176042" cy="0"/>
            </a:xfrm>
            <a:prstGeom prst="line">
              <a:avLst/>
            </a:prstGeom>
            <a:ln w="38100">
              <a:solidFill>
                <a:schemeClr val="accent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1071" name="Rectangle 1070">
              <a:extLst>
                <a:ext uri="{FF2B5EF4-FFF2-40B4-BE49-F238E27FC236}">
                  <a16:creationId xmlns:a16="http://schemas.microsoft.com/office/drawing/2014/main" id="{5EF8955E-1811-625A-2E9D-62F78E7966F0}"/>
                </a:ext>
              </a:extLst>
            </p:cNvPr>
            <p:cNvSpPr/>
            <p:nvPr/>
          </p:nvSpPr>
          <p:spPr>
            <a:xfrm>
              <a:off x="1021329" y="4199170"/>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Portfolio return (ZMW)</a:t>
              </a:r>
              <a:endParaRPr lang="en-GB" sz="1400" dirty="0">
                <a:solidFill>
                  <a:schemeClr val="bg1"/>
                </a:solidFill>
                <a:latin typeface="Bierstadt" panose="020B0004020202020204" pitchFamily="34" charset="0"/>
              </a:endParaRPr>
            </a:p>
          </p:txBody>
        </p:sp>
        <p:cxnSp>
          <p:nvCxnSpPr>
            <p:cNvPr id="1072" name="Straight Connector 1071">
              <a:extLst>
                <a:ext uri="{FF2B5EF4-FFF2-40B4-BE49-F238E27FC236}">
                  <a16:creationId xmlns:a16="http://schemas.microsoft.com/office/drawing/2014/main" id="{067EAF58-9C59-E403-E8BE-82708F20FD33}"/>
                </a:ext>
              </a:extLst>
            </p:cNvPr>
            <p:cNvCxnSpPr/>
            <p:nvPr/>
          </p:nvCxnSpPr>
          <p:spPr>
            <a:xfrm>
              <a:off x="845287" y="4488883"/>
              <a:ext cx="176042"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069" name="Rectangle 1068">
              <a:extLst>
                <a:ext uri="{FF2B5EF4-FFF2-40B4-BE49-F238E27FC236}">
                  <a16:creationId xmlns:a16="http://schemas.microsoft.com/office/drawing/2014/main" id="{E01969D9-225F-E45F-5920-F199404DF842}"/>
                </a:ext>
              </a:extLst>
            </p:cNvPr>
            <p:cNvSpPr/>
            <p:nvPr/>
          </p:nvSpPr>
          <p:spPr>
            <a:xfrm>
              <a:off x="1021329" y="4395097"/>
              <a:ext cx="1518172" cy="187571"/>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700" dirty="0">
                  <a:solidFill>
                    <a:schemeClr val="bg1"/>
                  </a:solidFill>
                  <a:latin typeface="Bierstadt" panose="020B0004020202020204" pitchFamily="34" charset="0"/>
                </a:rPr>
                <a:t>Benchmark return (ZMW)</a:t>
              </a:r>
              <a:endParaRPr lang="en-GB" sz="1400" dirty="0">
                <a:solidFill>
                  <a:schemeClr val="bg1"/>
                </a:solidFill>
                <a:latin typeface="Bierstadt" panose="020B0004020202020204" pitchFamily="34" charset="0"/>
              </a:endParaRPr>
            </a:p>
          </p:txBody>
        </p:sp>
      </p:grpSp>
      <p:grpSp>
        <p:nvGrpSpPr>
          <p:cNvPr id="1113" name="Group 1112">
            <a:extLst>
              <a:ext uri="{FF2B5EF4-FFF2-40B4-BE49-F238E27FC236}">
                <a16:creationId xmlns:a16="http://schemas.microsoft.com/office/drawing/2014/main" id="{C798E148-BFA6-6EF2-9543-ADF6CE2B8F40}"/>
              </a:ext>
            </a:extLst>
          </p:cNvPr>
          <p:cNvGrpSpPr/>
          <p:nvPr/>
        </p:nvGrpSpPr>
        <p:grpSpPr>
          <a:xfrm>
            <a:off x="292608" y="3487233"/>
            <a:ext cx="3082392" cy="232459"/>
            <a:chOff x="292608" y="3408468"/>
            <a:chExt cx="3082392" cy="232459"/>
          </a:xfrm>
        </p:grpSpPr>
        <p:cxnSp>
          <p:nvCxnSpPr>
            <p:cNvPr id="1110" name="Straight Connector 1109">
              <a:extLst>
                <a:ext uri="{FF2B5EF4-FFF2-40B4-BE49-F238E27FC236}">
                  <a16:creationId xmlns:a16="http://schemas.microsoft.com/office/drawing/2014/main" id="{E1E9F400-79E4-F605-CAC3-9C8DFB8A4E78}"/>
                </a:ext>
              </a:extLst>
            </p:cNvPr>
            <p:cNvCxnSpPr/>
            <p:nvPr/>
          </p:nvCxnSpPr>
          <p:spPr>
            <a:xfrm>
              <a:off x="292608" y="3640927"/>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1" name="Rectangle 1110">
              <a:extLst>
                <a:ext uri="{FF2B5EF4-FFF2-40B4-BE49-F238E27FC236}">
                  <a16:creationId xmlns:a16="http://schemas.microsoft.com/office/drawing/2014/main" id="{B72AFCF7-2C29-E7CB-8DB3-EF8C64B30C9D}"/>
                </a:ext>
              </a:extLst>
            </p:cNvPr>
            <p:cNvSpPr/>
            <p:nvPr/>
          </p:nvSpPr>
          <p:spPr>
            <a:xfrm>
              <a:off x="292608" y="3408468"/>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Portfolio performance since inception</a:t>
              </a:r>
              <a:endParaRPr lang="en-GB" sz="1000" b="1" dirty="0">
                <a:solidFill>
                  <a:schemeClr val="bg1"/>
                </a:solidFill>
                <a:latin typeface="Bierstadt" panose="020B0004020202020204" pitchFamily="34" charset="0"/>
              </a:endParaRPr>
            </a:p>
          </p:txBody>
        </p:sp>
      </p:grpSp>
      <p:sp>
        <p:nvSpPr>
          <p:cNvPr id="1116" name="Rectangle 1115">
            <a:extLst>
              <a:ext uri="{FF2B5EF4-FFF2-40B4-BE49-F238E27FC236}">
                <a16:creationId xmlns:a16="http://schemas.microsoft.com/office/drawing/2014/main" id="{B75CABC0-673B-2A1C-4D66-DBFEB420B5E4}"/>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Monthly return in USD %</a:t>
            </a:r>
            <a:endParaRPr lang="en-GB" sz="1000" b="1" dirty="0">
              <a:solidFill>
                <a:schemeClr val="bg1"/>
              </a:solidFill>
              <a:latin typeface="Bierstadt" panose="020B0004020202020204" pitchFamily="34" charset="0"/>
            </a:endParaRPr>
          </a:p>
        </p:txBody>
      </p:sp>
      <p:sp>
        <p:nvSpPr>
          <p:cNvPr id="1043" name="TextBox 1042">
            <a:extLst>
              <a:ext uri="{FF2B5EF4-FFF2-40B4-BE49-F238E27FC236}">
                <a16:creationId xmlns:a16="http://schemas.microsoft.com/office/drawing/2014/main" id="{74D90AD3-A784-38C5-B3F4-6A5A0D8E85D1}"/>
              </a:ext>
            </a:extLst>
          </p:cNvPr>
          <p:cNvSpPr txBox="1"/>
          <p:nvPr/>
        </p:nvSpPr>
        <p:spPr>
          <a:xfrm>
            <a:off x="292608" y="9210085"/>
            <a:ext cx="6272784" cy="415498"/>
          </a:xfrm>
          <a:prstGeom prst="rect">
            <a:avLst/>
          </a:prstGeom>
          <a:noFill/>
        </p:spPr>
        <p:txBody>
          <a:bodyPr wrap="square" rtlCol="0">
            <a:spAutoFit/>
          </a:bodyPr>
          <a:lstStyle/>
          <a:p>
            <a:pPr marL="171450" indent="-171450">
              <a:buFont typeface="Arial" panose="020B0604020202020204" pitchFamily="34" charset="0"/>
              <a:buChar char="•"/>
            </a:pPr>
            <a:r>
              <a:rPr lang="en-ZA" sz="700" dirty="0">
                <a:solidFill>
                  <a:schemeClr val="bg1"/>
                </a:solidFill>
              </a:rPr>
              <a:t>Portfolio and benchmark returns are not for the complete month of September 2021. Starts at 6 September 2021 (inception). Benchmark YTD is since inception.</a:t>
            </a: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 </a:t>
            </a:r>
          </a:p>
          <a:p>
            <a:pPr marL="171450" indent="-171450">
              <a:buFont typeface="Arial" panose="020B0604020202020204" pitchFamily="34" charset="0"/>
              <a:buChar char="•"/>
            </a:pPr>
            <a:r>
              <a:rPr kumimoji="0" lang="en-US" sz="700" b="0" i="0" u="none" strike="noStrike" kern="1200" cap="none" spc="0" normalizeH="0" baseline="0" noProof="0" dirty="0">
                <a:ln>
                  <a:noFill/>
                </a:ln>
                <a:solidFill>
                  <a:schemeClr val="bg1"/>
                </a:solidFill>
                <a:effectLst/>
                <a:uLnTx/>
                <a:uFillTx/>
                <a:latin typeface="Calibri" panose="020F0502020204030204"/>
                <a:ea typeface="+mn-ea"/>
                <a:cs typeface="+mn-cs"/>
              </a:rPr>
              <a:t>All returns stated have been calculated based on net asset values, including reinvestment of dividends where applicable. Past performance is not a reliable indicator of future performance.</a:t>
            </a:r>
            <a:endParaRPr kumimoji="0" lang="en-ZA" sz="7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graphicFrame>
        <p:nvGraphicFramePr>
          <p:cNvPr id="1044" name="MONTHLY_RETURNS_TABLE">
            <a:extLst>
              <a:ext uri="{FF2B5EF4-FFF2-40B4-BE49-F238E27FC236}">
                <a16:creationId xmlns:a16="http://schemas.microsoft.com/office/drawing/2014/main" id="{1F6E4154-5923-4BB1-E4D7-B973F8027170}"/>
              </a:ext>
            </a:extLst>
          </p:cNvPr>
          <p:cNvGraphicFramePr>
            <a:graphicFrameLocks noGrp="1"/>
          </p:cNvGraphicFramePr>
          <p:nvPr>
            <p:extLst>
              <p:ext uri="{D42A27DB-BD31-4B8C-83A1-F6EECF244321}">
                <p14:modId xmlns:p14="http://schemas.microsoft.com/office/powerpoint/2010/main" val="3208698559"/>
              </p:ext>
            </p:extLst>
          </p:nvPr>
        </p:nvGraphicFramePr>
        <p:xfrm>
          <a:off x="435172" y="7159133"/>
          <a:ext cx="5987656" cy="2008511"/>
        </p:xfrm>
        <a:graphic>
          <a:graphicData uri="http://schemas.openxmlformats.org/drawingml/2006/table">
            <a:tbl>
              <a:tblPr firstRow="1" bandRow="1">
                <a:tableStyleId>{00A15C55-8517-42AA-B614-E9B94910E393}</a:tableStyleId>
              </a:tblPr>
              <a:tblGrid>
                <a:gridCol w="948120">
                  <a:extLst>
                    <a:ext uri="{9D8B030D-6E8A-4147-A177-3AD203B41FA5}">
                      <a16:colId xmlns:a16="http://schemas.microsoft.com/office/drawing/2014/main" val="896788362"/>
                    </a:ext>
                  </a:extLst>
                </a:gridCol>
                <a:gridCol w="420970">
                  <a:extLst>
                    <a:ext uri="{9D8B030D-6E8A-4147-A177-3AD203B41FA5}">
                      <a16:colId xmlns:a16="http://schemas.microsoft.com/office/drawing/2014/main" val="3261703524"/>
                    </a:ext>
                  </a:extLst>
                </a:gridCol>
                <a:gridCol w="382056">
                  <a:extLst>
                    <a:ext uri="{9D8B030D-6E8A-4147-A177-3AD203B41FA5}">
                      <a16:colId xmlns:a16="http://schemas.microsoft.com/office/drawing/2014/main" val="2988750767"/>
                    </a:ext>
                  </a:extLst>
                </a:gridCol>
                <a:gridCol w="404482">
                  <a:extLst>
                    <a:ext uri="{9D8B030D-6E8A-4147-A177-3AD203B41FA5}">
                      <a16:colId xmlns:a16="http://schemas.microsoft.com/office/drawing/2014/main" val="3491355810"/>
                    </a:ext>
                  </a:extLst>
                </a:gridCol>
                <a:gridCol w="361950">
                  <a:extLst>
                    <a:ext uri="{9D8B030D-6E8A-4147-A177-3AD203B41FA5}">
                      <a16:colId xmlns:a16="http://schemas.microsoft.com/office/drawing/2014/main" val="1887057036"/>
                    </a:ext>
                  </a:extLst>
                </a:gridCol>
                <a:gridCol w="352425">
                  <a:extLst>
                    <a:ext uri="{9D8B030D-6E8A-4147-A177-3AD203B41FA5}">
                      <a16:colId xmlns:a16="http://schemas.microsoft.com/office/drawing/2014/main" val="2724548086"/>
                    </a:ext>
                  </a:extLst>
                </a:gridCol>
                <a:gridCol w="412028">
                  <a:extLst>
                    <a:ext uri="{9D8B030D-6E8A-4147-A177-3AD203B41FA5}">
                      <a16:colId xmlns:a16="http://schemas.microsoft.com/office/drawing/2014/main" val="3163421287"/>
                    </a:ext>
                  </a:extLst>
                </a:gridCol>
                <a:gridCol w="364368">
                  <a:extLst>
                    <a:ext uri="{9D8B030D-6E8A-4147-A177-3AD203B41FA5}">
                      <a16:colId xmlns:a16="http://schemas.microsoft.com/office/drawing/2014/main" val="2398919590"/>
                    </a:ext>
                  </a:extLst>
                </a:gridCol>
                <a:gridCol w="382056">
                  <a:extLst>
                    <a:ext uri="{9D8B030D-6E8A-4147-A177-3AD203B41FA5}">
                      <a16:colId xmlns:a16="http://schemas.microsoft.com/office/drawing/2014/main" val="1052940757"/>
                    </a:ext>
                  </a:extLst>
                </a:gridCol>
                <a:gridCol w="340349">
                  <a:extLst>
                    <a:ext uri="{9D8B030D-6E8A-4147-A177-3AD203B41FA5}">
                      <a16:colId xmlns:a16="http://schemas.microsoft.com/office/drawing/2014/main" val="623188744"/>
                    </a:ext>
                  </a:extLst>
                </a:gridCol>
                <a:gridCol w="349518">
                  <a:extLst>
                    <a:ext uri="{9D8B030D-6E8A-4147-A177-3AD203B41FA5}">
                      <a16:colId xmlns:a16="http://schemas.microsoft.com/office/drawing/2014/main" val="2515961813"/>
                    </a:ext>
                  </a:extLst>
                </a:gridCol>
                <a:gridCol w="420970">
                  <a:extLst>
                    <a:ext uri="{9D8B030D-6E8A-4147-A177-3AD203B41FA5}">
                      <a16:colId xmlns:a16="http://schemas.microsoft.com/office/drawing/2014/main" val="1987366053"/>
                    </a:ext>
                  </a:extLst>
                </a:gridCol>
                <a:gridCol w="351421">
                  <a:extLst>
                    <a:ext uri="{9D8B030D-6E8A-4147-A177-3AD203B41FA5}">
                      <a16:colId xmlns:a16="http://schemas.microsoft.com/office/drawing/2014/main" val="3039303453"/>
                    </a:ext>
                  </a:extLst>
                </a:gridCol>
                <a:gridCol w="496943">
                  <a:extLst>
                    <a:ext uri="{9D8B030D-6E8A-4147-A177-3AD203B41FA5}">
                      <a16:colId xmlns:a16="http://schemas.microsoft.com/office/drawing/2014/main" val="867294964"/>
                    </a:ext>
                  </a:extLst>
                </a:gridCol>
              </a:tblGrid>
              <a:tr h="195558">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Ye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Jan</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Feb</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dirty="0">
                          <a:solidFill>
                            <a:schemeClr val="bg1"/>
                          </a:solidFill>
                          <a:latin typeface="Bierstadt" panose="020B0004020202020204" pitchFamily="34" charset="0"/>
                          <a:ea typeface="Yu Gothic Light" panose="020B0300000000000000" pitchFamily="34" charset="-128"/>
                          <a:cs typeface="Helvetica" panose="020B0604020202020204"/>
                        </a:rPr>
                        <a:t>Mar</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600">
                          <a:solidFill>
                            <a:schemeClr val="bg1"/>
                          </a:solidFill>
                          <a:latin typeface="Bierstadt" panose="020B0004020202020204" pitchFamily="34" charset="0"/>
                          <a:ea typeface="Yu Gothic Light" panose="020B0300000000000000" pitchFamily="34" charset="-128"/>
                          <a:cs typeface="Helvetica" panose="020B0604020202020204"/>
                        </a:rPr>
                        <a:t>Apr</a:t>
                      </a:r>
                      <a:endParaRPr lang="en-ZA" sz="60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May</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Jun</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Jul</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Aug</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Sep*</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Oct</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a:solidFill>
                            <a:schemeClr val="bg1"/>
                          </a:solidFill>
                          <a:latin typeface="Bierstadt" panose="020B0004020202020204" pitchFamily="34" charset="0"/>
                          <a:ea typeface="Yu Gothic Light" panose="020B0300000000000000" pitchFamily="34" charset="-128"/>
                          <a:cs typeface="Helvetica" panose="020B0604020202020204"/>
                        </a:rPr>
                        <a:t>Nov</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Dec</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ZA" sz="600" dirty="0">
                          <a:solidFill>
                            <a:schemeClr val="bg1"/>
                          </a:solidFill>
                          <a:latin typeface="Bierstadt" panose="020B0004020202020204" pitchFamily="34" charset="0"/>
                          <a:ea typeface="Yu Gothic Light" panose="020B0300000000000000" pitchFamily="34" charset="-128"/>
                          <a:cs typeface="Helvetica" panose="020B0604020202020204"/>
                        </a:rPr>
                        <a:t>FY/YTD</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541953838"/>
                  </a:ext>
                </a:extLst>
              </a:tr>
              <a:tr h="182520">
                <a:tc>
                  <a:txBody>
                    <a:bodyPr/>
                    <a:lstStyle/>
                    <a:p>
                      <a:pPr algn="ctr"/>
                      <a:r>
                        <a:rPr lang="en-US" sz="600" b="0">
                          <a:solidFill>
                            <a:schemeClr val="bg1"/>
                          </a:solidFill>
                          <a:latin typeface="Bierstadt" panose="020B0004020202020204" pitchFamily="34" charset="0"/>
                          <a:ea typeface="Yu Gothic Light" panose="020B0300000000000000" pitchFamily="34" charset="-128"/>
                          <a:cs typeface="Helvetica" panose="020B0604020202020204"/>
                        </a:rPr>
                        <a:t>2021</a:t>
                      </a:r>
                      <a:endParaRPr lang="en-ZA" sz="600" b="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0.1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2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5.34%</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2967875"/>
                  </a:ext>
                </a:extLst>
              </a:tr>
              <a:tr h="182520">
                <a:tc>
                  <a:txBody>
                    <a:bodyPr/>
                    <a:lstStyle/>
                    <a:p>
                      <a:pPr algn="ctr"/>
                      <a:r>
                        <a:rPr lang="en-US" sz="600" b="0" dirty="0">
                          <a:solidFill>
                            <a:schemeClr val="bg1"/>
                          </a:solidFill>
                          <a:latin typeface="Bierstadt" panose="020B0004020202020204" pitchFamily="34" charset="0"/>
                          <a:ea typeface="Yu Gothic Light" panose="020B0300000000000000" pitchFamily="34" charset="-128"/>
                          <a:cs typeface="Helvetica" panose="020B0604020202020204"/>
                        </a:rPr>
                        <a:t>Benchmark</a:t>
                      </a:r>
                      <a:endParaRPr lang="en-ZA" sz="600" b="0" dirty="0">
                        <a:solidFill>
                          <a:schemeClr val="bg1"/>
                        </a:solidFill>
                        <a:latin typeface="Bierstadt" panose="020B0004020202020204" pitchFamily="34" charset="0"/>
                        <a:ea typeface="Yu Gothic Light" panose="020B0300000000000000" pitchFamily="34" charset="-128"/>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nb-NO" sz="600" b="0" i="0" u="none" strike="noStrike" dirty="0">
                          <a:solidFill>
                            <a:schemeClr val="bg1"/>
                          </a:solidFill>
                          <a:effectLst/>
                          <a:latin typeface="Bierstadt" panose="020B0004020202020204" pitchFamily="34" charset="0"/>
                          <a:cs typeface="Helvetica" panose="020B0604020202020204"/>
                        </a:rPr>
                        <a:t>-</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4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3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5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248378"/>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2</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9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9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4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6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9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2.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7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24%</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631251"/>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0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9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0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4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1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0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3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9.4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8.3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746856"/>
                  </a:ext>
                </a:extLst>
              </a:tr>
              <a:tr h="182520">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3</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6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1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7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3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2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8.6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4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9.80%</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5735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3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0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7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5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9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8.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22.27%</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126616"/>
                  </a:ext>
                </a:extLst>
              </a:tr>
              <a:tr h="181655">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2024</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8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9.4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2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4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7.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7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3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1.8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0.8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7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1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33.03%</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810567"/>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2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2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55%</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5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0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1.5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5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20%</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0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0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2.6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45%</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8003448"/>
                  </a:ext>
                </a:extLst>
              </a:tr>
              <a:tr h="169483">
                <a:tc>
                  <a:txBody>
                    <a:bodyPr/>
                    <a:lstStyle/>
                    <a:p>
                      <a:pPr algn="ctr"/>
                      <a:r>
                        <a:rPr lang="en-ZA" sz="600" b="0" dirty="0">
                          <a:solidFill>
                            <a:schemeClr val="bg1"/>
                          </a:solidFill>
                          <a:latin typeface="Bierstadt" panose="020B0004020202020204" pitchFamily="34" charset="0"/>
                          <a:ea typeface="Yu Gothic Light" panose="020B0300000000000000" pitchFamily="34" charset="-128"/>
                          <a:cs typeface="Helvetica" panose="020B0604020202020204"/>
                        </a:rPr>
                        <a:t>2025</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2.4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86%</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4.64%</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97%</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6.9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3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1.1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71%</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3.8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1" i="0" u="none" strike="noStrike" dirty="0">
                          <a:solidFill>
                            <a:schemeClr val="bg1"/>
                          </a:solidFill>
                          <a:effectLst/>
                          <a:latin typeface="Bierstadt" panose="020B0004020202020204" pitchFamily="34" charset="0"/>
                          <a:cs typeface="Helvetica" panose="020B0604020202020204"/>
                        </a:rPr>
                        <a:t>16.65%</a:t>
                      </a:r>
                      <a:endParaRPr lang="da-US" sz="600" b="1"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072681915"/>
                  </a:ext>
                </a:extLst>
              </a:tr>
              <a:tr h="169483">
                <a:tc>
                  <a:txBody>
                    <a:bodyPr/>
                    <a:lstStyle/>
                    <a:p>
                      <a:pPr algn="ctr"/>
                      <a:r>
                        <a:rPr lang="en-ZA" sz="600" b="0">
                          <a:solidFill>
                            <a:schemeClr val="bg1"/>
                          </a:solidFill>
                          <a:latin typeface="Bierstadt" panose="020B0004020202020204" pitchFamily="34" charset="0"/>
                          <a:ea typeface="Yu Gothic Light" panose="020B0300000000000000" pitchFamily="34" charset="-128"/>
                          <a:cs typeface="Helvetica" panose="020B0604020202020204"/>
                        </a:rPr>
                        <a:t>Benchmark</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3.13%</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2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3.68%</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0.52%</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a:solidFill>
                            <a:schemeClr val="bg1"/>
                          </a:solidFill>
                          <a:effectLst/>
                          <a:latin typeface="Bierstadt" panose="020B0004020202020204" pitchFamily="34" charset="0"/>
                          <a:cs typeface="Helvetica" panose="020B0604020202020204"/>
                        </a:rPr>
                        <a:t>5.69%</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buNone/>
                      </a:pPr>
                      <a:r>
                        <a:rPr lang="en-ZA" sz="600" b="0" i="0" u="none" strike="noStrike" dirty="0">
                          <a:solidFill>
                            <a:schemeClr val="bg1"/>
                          </a:solidFill>
                          <a:effectLst/>
                          <a:latin typeface="Bierstadt" panose="020B0004020202020204" pitchFamily="34" charset="0"/>
                          <a:cs typeface="Helvetica" panose="020B0604020202020204"/>
                        </a:rPr>
                        <a:t>4.81%</a:t>
                      </a:r>
                    </a:p>
                  </a:txBody>
                  <a:tcPr marL="6927" marR="6927"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2.68%</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3.60%</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0" u="none" strike="noStrike" dirty="0">
                          <a:solidFill>
                            <a:schemeClr val="bg1"/>
                          </a:solidFill>
                          <a:effectLst/>
                          <a:latin typeface="Bierstadt" panose="020B0004020202020204" pitchFamily="34" charset="0"/>
                          <a:cs typeface="Helvetica" panose="020B0604020202020204"/>
                        </a:rPr>
                        <a:t>0.12%</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da-DK" sz="600" b="0" i="1" u="none" strike="noStrike" dirty="0">
                          <a:solidFill>
                            <a:schemeClr val="bg1"/>
                          </a:solidFill>
                          <a:effectLst/>
                          <a:latin typeface="Bierstadt" panose="020B0004020202020204" pitchFamily="34" charset="0"/>
                          <a:cs typeface="Helvetica" panose="020B0604020202020204"/>
                        </a:rPr>
                        <a:t>NA</a:t>
                      </a:r>
                      <a:endParaRPr lang="da-US" sz="600" b="0" i="1"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da-DK"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rPr>
                        <a:t>NA</a:t>
                      </a:r>
                      <a:endParaRPr kumimoji="0" lang="da-US" sz="600" b="0" i="1" u="none" strike="noStrike" kern="1200" cap="none" spc="0" normalizeH="0" baseline="0" noProof="0" dirty="0">
                        <a:ln>
                          <a:noFill/>
                        </a:ln>
                        <a:solidFill>
                          <a:schemeClr val="bg1"/>
                        </a:solidFill>
                        <a:effectLst/>
                        <a:uLnTx/>
                        <a:uFillTx/>
                        <a:latin typeface="Bierstadt" panose="020B0004020202020204" pitchFamily="34" charset="0"/>
                        <a:ea typeface="+mn-ea"/>
                        <a:cs typeface="Helvetica" panose="020B0604020202020204"/>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ctr"/>
                      <a:r>
                        <a:rPr lang="en-US" sz="600" b="0" i="0" u="none" strike="noStrike" dirty="0">
                          <a:solidFill>
                            <a:schemeClr val="bg1"/>
                          </a:solidFill>
                          <a:effectLst/>
                          <a:latin typeface="Bierstadt" panose="020B0004020202020204" pitchFamily="34" charset="0"/>
                          <a:cs typeface="Helvetica" panose="020B0604020202020204"/>
                        </a:rPr>
                        <a:t>14.02%</a:t>
                      </a:r>
                      <a:endParaRPr lang="da-US" sz="600" b="0" i="0" u="none" strike="noStrike" dirty="0">
                        <a:solidFill>
                          <a:schemeClr val="bg1"/>
                        </a:solidFill>
                        <a:effectLst/>
                        <a:latin typeface="Bierstadt" panose="020B0004020202020204" pitchFamily="34" charset="0"/>
                        <a:cs typeface="Helvetica" panose="020B0604020202020204"/>
                      </a:endParaRPr>
                    </a:p>
                  </a:txBody>
                  <a:tcPr marL="8659" marR="8659"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943505122"/>
                  </a:ext>
                </a:extLst>
              </a:tr>
            </a:tbl>
          </a:graphicData>
        </a:graphic>
      </p:graphicFrame>
      <p:cxnSp>
        <p:nvCxnSpPr>
          <p:cNvPr id="1115" name="Straight Connector 1114">
            <a:extLst>
              <a:ext uri="{FF2B5EF4-FFF2-40B4-BE49-F238E27FC236}">
                <a16:creationId xmlns:a16="http://schemas.microsoft.com/office/drawing/2014/main" id="{115A132D-87C4-229E-D72B-7612E9001D6C}"/>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1117" name="Group 1116">
            <a:extLst>
              <a:ext uri="{FF2B5EF4-FFF2-40B4-BE49-F238E27FC236}">
                <a16:creationId xmlns:a16="http://schemas.microsoft.com/office/drawing/2014/main" id="{1044B7A8-B9D0-329C-C0BD-AF0C9E0CC069}"/>
              </a:ext>
            </a:extLst>
          </p:cNvPr>
          <p:cNvGrpSpPr/>
          <p:nvPr/>
        </p:nvGrpSpPr>
        <p:grpSpPr>
          <a:xfrm>
            <a:off x="3483000" y="1024666"/>
            <a:ext cx="3082392" cy="232459"/>
            <a:chOff x="292608" y="1013780"/>
            <a:chExt cx="3082392" cy="232459"/>
          </a:xfrm>
        </p:grpSpPr>
        <p:cxnSp>
          <p:nvCxnSpPr>
            <p:cNvPr id="1118" name="Straight Connector 1117">
              <a:extLst>
                <a:ext uri="{FF2B5EF4-FFF2-40B4-BE49-F238E27FC236}">
                  <a16:creationId xmlns:a16="http://schemas.microsoft.com/office/drawing/2014/main" id="{7FFFBDED-BF3F-749A-FE21-9CADD728275E}"/>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9F902DF6-F73C-67CF-1296-059991C712C5}"/>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information</a:t>
              </a:r>
              <a:endParaRPr lang="en-GB" sz="1000" b="1" dirty="0">
                <a:solidFill>
                  <a:schemeClr val="bg1"/>
                </a:solidFill>
                <a:latin typeface="Bierstadt"/>
              </a:endParaRPr>
            </a:p>
          </p:txBody>
        </p:sp>
      </p:grpSp>
      <p:sp>
        <p:nvSpPr>
          <p:cNvPr id="1120" name="TextBox 1119">
            <a:extLst>
              <a:ext uri="{FF2B5EF4-FFF2-40B4-BE49-F238E27FC236}">
                <a16:creationId xmlns:a16="http://schemas.microsoft.com/office/drawing/2014/main" id="{BD05C90F-3044-8DC2-CC91-3E39100F309F}"/>
              </a:ext>
            </a:extLst>
          </p:cNvPr>
          <p:cNvSpPr txBox="1"/>
          <p:nvPr/>
        </p:nvSpPr>
        <p:spPr>
          <a:xfrm>
            <a:off x="3527229" y="1480484"/>
            <a:ext cx="1542694"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Risk profi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chemeClr val="bg1"/>
              </a:solidFill>
              <a:effectLst/>
              <a:uLnTx/>
              <a:uFillTx/>
              <a:latin typeface="Bierstadt" panose="020B0004020202020204" pitchFamily="34" charset="0"/>
            </a:endParaRPr>
          </a:p>
        </p:txBody>
      </p:sp>
      <p:graphicFrame>
        <p:nvGraphicFramePr>
          <p:cNvPr id="1121" name="Table 16">
            <a:extLst>
              <a:ext uri="{FF2B5EF4-FFF2-40B4-BE49-F238E27FC236}">
                <a16:creationId xmlns:a16="http://schemas.microsoft.com/office/drawing/2014/main" id="{A72A4B91-670B-1D9D-AB8F-5B6D9C904020}"/>
              </a:ext>
            </a:extLst>
          </p:cNvPr>
          <p:cNvGraphicFramePr>
            <a:graphicFrameLocks noGrp="1"/>
          </p:cNvGraphicFramePr>
          <p:nvPr>
            <p:extLst>
              <p:ext uri="{D42A27DB-BD31-4B8C-83A1-F6EECF244321}">
                <p14:modId xmlns:p14="http://schemas.microsoft.com/office/powerpoint/2010/main" val="162677619"/>
              </p:ext>
            </p:extLst>
          </p:nvPr>
        </p:nvGraphicFramePr>
        <p:xfrm>
          <a:off x="4449425" y="1496815"/>
          <a:ext cx="1828800" cy="243840"/>
        </p:xfrm>
        <a:graphic>
          <a:graphicData uri="http://schemas.openxmlformats.org/drawingml/2006/table">
            <a:tbl>
              <a:tblPr firstRow="1" bandRow="1">
                <a:tableStyleId>{912C8C85-51F0-491E-9774-3900AFEF0FD7}</a:tableStyleId>
              </a:tblPr>
              <a:tblGrid>
                <a:gridCol w="365760">
                  <a:extLst>
                    <a:ext uri="{9D8B030D-6E8A-4147-A177-3AD203B41FA5}">
                      <a16:colId xmlns:a16="http://schemas.microsoft.com/office/drawing/2014/main" val="3324011243"/>
                    </a:ext>
                  </a:extLst>
                </a:gridCol>
                <a:gridCol w="365760">
                  <a:extLst>
                    <a:ext uri="{9D8B030D-6E8A-4147-A177-3AD203B41FA5}">
                      <a16:colId xmlns:a16="http://schemas.microsoft.com/office/drawing/2014/main" val="3190197823"/>
                    </a:ext>
                  </a:extLst>
                </a:gridCol>
                <a:gridCol w="365760">
                  <a:extLst>
                    <a:ext uri="{9D8B030D-6E8A-4147-A177-3AD203B41FA5}">
                      <a16:colId xmlns:a16="http://schemas.microsoft.com/office/drawing/2014/main" val="325901991"/>
                    </a:ext>
                  </a:extLst>
                </a:gridCol>
                <a:gridCol w="365760">
                  <a:extLst>
                    <a:ext uri="{9D8B030D-6E8A-4147-A177-3AD203B41FA5}">
                      <a16:colId xmlns:a16="http://schemas.microsoft.com/office/drawing/2014/main" val="398635762"/>
                    </a:ext>
                  </a:extLst>
                </a:gridCol>
                <a:gridCol w="365760">
                  <a:extLst>
                    <a:ext uri="{9D8B030D-6E8A-4147-A177-3AD203B41FA5}">
                      <a16:colId xmlns:a16="http://schemas.microsoft.com/office/drawing/2014/main" val="2426451187"/>
                    </a:ext>
                  </a:extLst>
                </a:gridCol>
              </a:tblGrid>
              <a:tr h="182880">
                <a:tc>
                  <a:txBody>
                    <a:bodyPr/>
                    <a:lstStyle/>
                    <a:p>
                      <a:pPr algn="ctr"/>
                      <a:r>
                        <a:rPr lang="en-US" sz="1000" b="0">
                          <a:solidFill>
                            <a:schemeClr val="bg1"/>
                          </a:solidFill>
                          <a:latin typeface="Helvetica" panose="020B0604020202020204" pitchFamily="34" charset="0"/>
                          <a:cs typeface="Helvetica" panose="020B0604020202020204" pitchFamily="34" charset="0"/>
                        </a:rPr>
                        <a:t>1</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a:solidFill>
                            <a:schemeClr val="bg1"/>
                          </a:solidFill>
                          <a:latin typeface="Helvetica" panose="020B0604020202020204" pitchFamily="34" charset="0"/>
                          <a:cs typeface="Helvetica" panose="020B0604020202020204" pitchFamily="34" charset="0"/>
                        </a:rPr>
                        <a:t>2</a:t>
                      </a:r>
                      <a:endParaRPr lang="en-ZA" sz="1000" b="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3</a:t>
                      </a:r>
                      <a:endParaRPr lang="en-ZA" sz="1000" b="0" dirty="0">
                        <a:solidFill>
                          <a:schemeClr val="bg1"/>
                        </a:solidFill>
                        <a:latin typeface="Helvetica" panose="020B0604020202020204" pitchFamily="34" charset="0"/>
                        <a:cs typeface="Helvetica" panose="020B0604020202020204" pitchFamily="34" charset="0"/>
                      </a:endParaRPr>
                    </a:p>
                  </a:txBody>
                  <a:tcPr>
                    <a:noFill/>
                  </a:tcPr>
                </a:tc>
                <a:tc>
                  <a:txBody>
                    <a:bodyPr/>
                    <a:lstStyle/>
                    <a:p>
                      <a:pPr algn="ctr"/>
                      <a:r>
                        <a:rPr lang="en-US" sz="1000" b="1" dirty="0">
                          <a:solidFill>
                            <a:schemeClr val="bg1"/>
                          </a:solidFill>
                          <a:latin typeface="Helvetica" panose="020B0604020202020204" pitchFamily="34" charset="0"/>
                          <a:cs typeface="Helvetica" panose="020B0604020202020204" pitchFamily="34" charset="0"/>
                        </a:rPr>
                        <a:t>4</a:t>
                      </a:r>
                      <a:endParaRPr lang="en-ZA" sz="1000" b="1" dirty="0">
                        <a:solidFill>
                          <a:schemeClr val="bg1"/>
                        </a:solidFill>
                        <a:latin typeface="Helvetica" panose="020B0604020202020204" pitchFamily="34" charset="0"/>
                        <a:cs typeface="Helvetica" panose="020B0604020202020204" pitchFamily="34" charset="0"/>
                      </a:endParaRPr>
                    </a:p>
                  </a:txBody>
                  <a:tcPr/>
                </a:tc>
                <a:tc>
                  <a:txBody>
                    <a:bodyPr/>
                    <a:lstStyle/>
                    <a:p>
                      <a:pPr algn="ctr"/>
                      <a:r>
                        <a:rPr lang="en-US" sz="1000" b="0" dirty="0">
                          <a:solidFill>
                            <a:schemeClr val="bg1"/>
                          </a:solidFill>
                          <a:latin typeface="Helvetica" panose="020B0604020202020204" pitchFamily="34" charset="0"/>
                          <a:cs typeface="Helvetica" panose="020B0604020202020204" pitchFamily="34" charset="0"/>
                        </a:rPr>
                        <a:t>5</a:t>
                      </a:r>
                      <a:endParaRPr lang="en-ZA" sz="1000" b="0" dirty="0">
                        <a:solidFill>
                          <a:schemeClr val="bg1"/>
                        </a:solidFill>
                        <a:latin typeface="Helvetica" panose="020B0604020202020204" pitchFamily="34" charset="0"/>
                        <a:cs typeface="Helvetica" panose="020B0604020202020204" pitchFamily="34" charset="0"/>
                      </a:endParaRPr>
                    </a:p>
                  </a:txBody>
                  <a:tcPr>
                    <a:noFill/>
                  </a:tcPr>
                </a:tc>
                <a:extLst>
                  <a:ext uri="{0D108BD9-81ED-4DB2-BD59-A6C34878D82A}">
                    <a16:rowId xmlns:a16="http://schemas.microsoft.com/office/drawing/2014/main" val="2590197038"/>
                  </a:ext>
                </a:extLst>
              </a:tr>
            </a:tbl>
          </a:graphicData>
        </a:graphic>
      </p:graphicFrame>
      <p:sp>
        <p:nvSpPr>
          <p:cNvPr id="1128" name="TextBox 1127">
            <a:extLst>
              <a:ext uri="{FF2B5EF4-FFF2-40B4-BE49-F238E27FC236}">
                <a16:creationId xmlns:a16="http://schemas.microsoft.com/office/drawing/2014/main" id="{8CF1E5B6-87B7-F8D8-4569-2578C19CE7E7}"/>
              </a:ext>
            </a:extLst>
          </p:cNvPr>
          <p:cNvSpPr txBox="1"/>
          <p:nvPr/>
        </p:nvSpPr>
        <p:spPr>
          <a:xfrm>
            <a:off x="4377986" y="1273196"/>
            <a:ext cx="62719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Low</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9" name="TextBox 1128">
            <a:extLst>
              <a:ext uri="{FF2B5EF4-FFF2-40B4-BE49-F238E27FC236}">
                <a16:creationId xmlns:a16="http://schemas.microsoft.com/office/drawing/2014/main" id="{23652EF1-9108-5747-87F3-18A8404E720C}"/>
              </a:ext>
            </a:extLst>
          </p:cNvPr>
          <p:cNvSpPr txBox="1"/>
          <p:nvPr/>
        </p:nvSpPr>
        <p:spPr>
          <a:xfrm>
            <a:off x="5876128" y="1263104"/>
            <a:ext cx="65878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High</a:t>
            </a:r>
            <a:endParaRPr kumimoji="0" lang="en-ZA" sz="900" i="1"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0" name="TextBox 1129">
            <a:extLst>
              <a:ext uri="{FF2B5EF4-FFF2-40B4-BE49-F238E27FC236}">
                <a16:creationId xmlns:a16="http://schemas.microsoft.com/office/drawing/2014/main" id="{41808883-77AC-2219-F048-85CA6077486F}"/>
              </a:ext>
            </a:extLst>
          </p:cNvPr>
          <p:cNvSpPr txBox="1"/>
          <p:nvPr/>
        </p:nvSpPr>
        <p:spPr>
          <a:xfrm>
            <a:off x="5005182" y="1274531"/>
            <a:ext cx="91440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Moderate</a:t>
            </a:r>
            <a:endParaRPr kumimoji="0" lang="en-ZA" sz="900" i="1"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grpSp>
        <p:nvGrpSpPr>
          <p:cNvPr id="1134" name="Group 1133">
            <a:extLst>
              <a:ext uri="{FF2B5EF4-FFF2-40B4-BE49-F238E27FC236}">
                <a16:creationId xmlns:a16="http://schemas.microsoft.com/office/drawing/2014/main" id="{F6E6E961-5D71-26C8-E226-D3661BE6E15B}"/>
              </a:ext>
            </a:extLst>
          </p:cNvPr>
          <p:cNvGrpSpPr/>
          <p:nvPr/>
        </p:nvGrpSpPr>
        <p:grpSpPr>
          <a:xfrm>
            <a:off x="3531992" y="1793130"/>
            <a:ext cx="2984409" cy="1339191"/>
            <a:chOff x="3529619" y="2021004"/>
            <a:chExt cx="2984409" cy="1339191"/>
          </a:xfrm>
        </p:grpSpPr>
        <p:sp>
          <p:nvSpPr>
            <p:cNvPr id="1122" name="TextBox 1121">
              <a:extLst>
                <a:ext uri="{FF2B5EF4-FFF2-40B4-BE49-F238E27FC236}">
                  <a16:creationId xmlns:a16="http://schemas.microsoft.com/office/drawing/2014/main" id="{8585F231-2C62-B0AE-B7B3-1BAB42484B03}"/>
                </a:ext>
              </a:extLst>
            </p:cNvPr>
            <p:cNvSpPr txBox="1"/>
            <p:nvPr/>
          </p:nvSpPr>
          <p:spPr>
            <a:xfrm>
              <a:off x="3531303" y="2322683"/>
              <a:ext cx="1068920"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tab pos="463550" algn="l"/>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Inception dat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Benchmark</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3" name="TextBox 1122">
              <a:extLst>
                <a:ext uri="{FF2B5EF4-FFF2-40B4-BE49-F238E27FC236}">
                  <a16:creationId xmlns:a16="http://schemas.microsoft.com/office/drawing/2014/main" id="{93390F13-D166-4162-3F1E-05D458B33940}"/>
                </a:ext>
              </a:extLst>
            </p:cNvPr>
            <p:cNvSpPr txBox="1"/>
            <p:nvPr/>
          </p:nvSpPr>
          <p:spPr>
            <a:xfrm>
              <a:off x="5018209" y="2336574"/>
              <a:ext cx="1068920"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Bierstadt" panose="020B0004020202020204" pitchFamily="34" charset="0"/>
                  <a:cs typeface="Helvetica" panose="020B0604020202020204" pitchFamily="34" charset="0"/>
                </a:rPr>
                <a:t>6</a:t>
              </a: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 Sep 2021</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endParaRPr>
            </a:p>
          </p:txBody>
        </p:sp>
        <p:sp>
          <p:nvSpPr>
            <p:cNvPr id="1124" name="BENCH_NAME">
              <a:extLst>
                <a:ext uri="{FF2B5EF4-FFF2-40B4-BE49-F238E27FC236}">
                  <a16:creationId xmlns:a16="http://schemas.microsoft.com/office/drawing/2014/main" id="{EE16854C-077E-8B7B-0CA5-E7BAA77A83E3}"/>
                </a:ext>
              </a:extLst>
            </p:cNvPr>
            <p:cNvSpPr txBox="1"/>
            <p:nvPr/>
          </p:nvSpPr>
          <p:spPr>
            <a:xfrm>
              <a:off x="5035140" y="2610906"/>
              <a:ext cx="87682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MSCI ACWI</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endParaRPr>
            </a:p>
          </p:txBody>
        </p:sp>
        <p:sp>
          <p:nvSpPr>
            <p:cNvPr id="1125" name="TextBox 1124">
              <a:extLst>
                <a:ext uri="{FF2B5EF4-FFF2-40B4-BE49-F238E27FC236}">
                  <a16:creationId xmlns:a16="http://schemas.microsoft.com/office/drawing/2014/main" id="{56C16C64-D8C9-F3AD-38F2-00DFE3100BB3}"/>
                </a:ext>
              </a:extLst>
            </p:cNvPr>
            <p:cNvSpPr txBox="1"/>
            <p:nvPr/>
          </p:nvSpPr>
          <p:spPr>
            <a:xfrm>
              <a:off x="3533519" y="2845990"/>
              <a:ext cx="1361594"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rPr>
                <a:t>Portfolio denomination</a:t>
              </a:r>
              <a:endParaRPr kumimoji="0" lang="en-ZA" sz="900" b="0" i="0" u="none" strike="noStrike" kern="1200" cap="none" spc="0" normalizeH="0" baseline="0" noProof="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6" name="TextBox 1125">
              <a:extLst>
                <a:ext uri="{FF2B5EF4-FFF2-40B4-BE49-F238E27FC236}">
                  <a16:creationId xmlns:a16="http://schemas.microsoft.com/office/drawing/2014/main" id="{70F2B244-9C00-F88B-7655-C7F1E159FA21}"/>
                </a:ext>
              </a:extLst>
            </p:cNvPr>
            <p:cNvSpPr txBox="1"/>
            <p:nvPr/>
          </p:nvSpPr>
          <p:spPr>
            <a:xfrm>
              <a:off x="5218146" y="2859128"/>
              <a:ext cx="473232"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USD </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27" name="TextBox 1126">
              <a:extLst>
                <a:ext uri="{FF2B5EF4-FFF2-40B4-BE49-F238E27FC236}">
                  <a16:creationId xmlns:a16="http://schemas.microsoft.com/office/drawing/2014/main" id="{196B4DFA-4EC6-D389-607B-00BFE9D71E6C}"/>
                </a:ext>
              </a:extLst>
            </p:cNvPr>
            <p:cNvSpPr txBox="1"/>
            <p:nvPr/>
          </p:nvSpPr>
          <p:spPr>
            <a:xfrm>
              <a:off x="3529619" y="2027063"/>
              <a:ext cx="120696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Portfolio structure</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1" name="TextBox 1130">
              <a:extLst>
                <a:ext uri="{FF2B5EF4-FFF2-40B4-BE49-F238E27FC236}">
                  <a16:creationId xmlns:a16="http://schemas.microsoft.com/office/drawing/2014/main" id="{3111AED9-6429-2608-940E-46E70B879D65}"/>
                </a:ext>
              </a:extLst>
            </p:cNvPr>
            <p:cNvSpPr txBox="1"/>
            <p:nvPr/>
          </p:nvSpPr>
          <p:spPr>
            <a:xfrm>
              <a:off x="4643301" y="2021004"/>
              <a:ext cx="187072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Discretionary/Direct ownership</a:t>
              </a:r>
              <a:endParaRPr kumimoji="0" lang="en-ZA"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endParaRPr>
            </a:p>
          </p:txBody>
        </p:sp>
        <p:sp>
          <p:nvSpPr>
            <p:cNvPr id="1132" name="TextBox 1131">
              <a:extLst>
                <a:ext uri="{FF2B5EF4-FFF2-40B4-BE49-F238E27FC236}">
                  <a16:creationId xmlns:a16="http://schemas.microsoft.com/office/drawing/2014/main" id="{04BBF164-6973-A07B-B1B2-CED2F4CC5011}"/>
                </a:ext>
              </a:extLst>
            </p:cNvPr>
            <p:cNvSpPr txBox="1"/>
            <p:nvPr/>
          </p:nvSpPr>
          <p:spPr>
            <a:xfrm>
              <a:off x="3533656" y="3129363"/>
              <a:ext cx="1162314" cy="230832"/>
            </a:xfrm>
            <a:prstGeom prst="rect">
              <a:avLst/>
            </a:prstGeom>
            <a:noFill/>
          </p:spPr>
          <p:txBody>
            <a:bodyPr wrap="square" rtlCol="0">
              <a:spAutoFit/>
            </a:bodyPr>
            <a:lstStyle/>
            <a:p>
              <a:r>
                <a:rPr lang="en-US" sz="900">
                  <a:solidFill>
                    <a:schemeClr val="bg1"/>
                  </a:solidFill>
                  <a:latin typeface="Bierstadt" panose="020B0004020202020204" pitchFamily="34" charset="0"/>
                  <a:cs typeface="Helvetica" panose="020B0604020202020204" pitchFamily="34" charset="0"/>
                </a:rPr>
                <a:t>Management fee</a:t>
              </a:r>
              <a:endParaRPr lang="en-ZA" sz="900">
                <a:solidFill>
                  <a:schemeClr val="bg1"/>
                </a:solidFill>
                <a:latin typeface="Bierstadt" panose="020B0004020202020204" pitchFamily="34" charset="0"/>
                <a:cs typeface="Helvetica" panose="020B0604020202020204" pitchFamily="34" charset="0"/>
              </a:endParaRPr>
            </a:p>
          </p:txBody>
        </p:sp>
        <p:sp>
          <p:nvSpPr>
            <p:cNvPr id="1133" name="TextBox 1132">
              <a:extLst>
                <a:ext uri="{FF2B5EF4-FFF2-40B4-BE49-F238E27FC236}">
                  <a16:creationId xmlns:a16="http://schemas.microsoft.com/office/drawing/2014/main" id="{A74CE2D0-34DD-CD08-9788-548F5D2157C0}"/>
                </a:ext>
              </a:extLst>
            </p:cNvPr>
            <p:cNvSpPr txBox="1"/>
            <p:nvPr/>
          </p:nvSpPr>
          <p:spPr>
            <a:xfrm>
              <a:off x="4877544" y="3123995"/>
              <a:ext cx="1318471" cy="230832"/>
            </a:xfrm>
            <a:prstGeom prst="rect">
              <a:avLst/>
            </a:prstGeom>
            <a:noFill/>
          </p:spPr>
          <p:txBody>
            <a:bodyPr wrap="square" lIns="91440" tIns="45720" rIns="91440" bIns="45720" rtlCol="0" anchor="t">
              <a:spAutoFit/>
            </a:bodyPr>
            <a:lstStyle/>
            <a:p>
              <a:r>
                <a:rPr lang="en-ZA" sz="900" dirty="0">
                  <a:solidFill>
                    <a:schemeClr val="bg1"/>
                  </a:solidFill>
                  <a:latin typeface="Bierstadt" panose="020B0004020202020204" pitchFamily="34" charset="0"/>
                  <a:cs typeface="Helvetica"/>
                </a:rPr>
                <a:t>1% p.a. incl. VAT</a:t>
              </a:r>
            </a:p>
          </p:txBody>
        </p:sp>
      </p:grpSp>
      <p:grpSp>
        <p:nvGrpSpPr>
          <p:cNvPr id="3" name="Group 2">
            <a:extLst>
              <a:ext uri="{FF2B5EF4-FFF2-40B4-BE49-F238E27FC236}">
                <a16:creationId xmlns:a16="http://schemas.microsoft.com/office/drawing/2014/main" id="{D614AE55-CE52-F6FE-3408-DD2429B55CC5}"/>
              </a:ext>
            </a:extLst>
          </p:cNvPr>
          <p:cNvGrpSpPr/>
          <p:nvPr/>
        </p:nvGrpSpPr>
        <p:grpSpPr>
          <a:xfrm>
            <a:off x="3483000" y="5109925"/>
            <a:ext cx="3082392" cy="232459"/>
            <a:chOff x="3483000" y="5134309"/>
            <a:chExt cx="3082392" cy="232459"/>
          </a:xfrm>
        </p:grpSpPr>
        <p:cxnSp>
          <p:nvCxnSpPr>
            <p:cNvPr id="1136" name="Straight Connector 1135">
              <a:extLst>
                <a:ext uri="{FF2B5EF4-FFF2-40B4-BE49-F238E27FC236}">
                  <a16:creationId xmlns:a16="http://schemas.microsoft.com/office/drawing/2014/main" id="{A9061FFE-B890-DF0E-40BB-8D02D5A96E57}"/>
                </a:ext>
              </a:extLst>
            </p:cNvPr>
            <p:cNvCxnSpPr/>
            <p:nvPr/>
          </p:nvCxnSpPr>
          <p:spPr>
            <a:xfrm>
              <a:off x="3483000" y="5366768"/>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37" name="Rectangle 1136">
              <a:extLst>
                <a:ext uri="{FF2B5EF4-FFF2-40B4-BE49-F238E27FC236}">
                  <a16:creationId xmlns:a16="http://schemas.microsoft.com/office/drawing/2014/main" id="{1741FC84-33AD-5D98-8545-516330A7EF3C}"/>
                </a:ext>
              </a:extLst>
            </p:cNvPr>
            <p:cNvSpPr/>
            <p:nvPr/>
          </p:nvSpPr>
          <p:spPr>
            <a:xfrm>
              <a:off x="3483000" y="5134309"/>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Portfolio volatility</a:t>
              </a:r>
              <a:endParaRPr lang="en-GB" sz="1000" b="1" dirty="0">
                <a:solidFill>
                  <a:schemeClr val="bg1"/>
                </a:solidFill>
                <a:latin typeface="Bierstadt"/>
              </a:endParaRPr>
            </a:p>
          </p:txBody>
        </p:sp>
      </p:grpSp>
      <p:graphicFrame>
        <p:nvGraphicFramePr>
          <p:cNvPr id="1148" name="TOP_HOLDINGS_TABLE">
            <a:extLst>
              <a:ext uri="{FF2B5EF4-FFF2-40B4-BE49-F238E27FC236}">
                <a16:creationId xmlns:a16="http://schemas.microsoft.com/office/drawing/2014/main" id="{5892CF8A-F628-EC82-4DEE-32CF5B7A9034}"/>
              </a:ext>
            </a:extLst>
          </p:cNvPr>
          <p:cNvGraphicFramePr>
            <a:graphicFrameLocks noGrp="1"/>
          </p:cNvGraphicFramePr>
          <p:nvPr>
            <p:extLst>
              <p:ext uri="{D42A27DB-BD31-4B8C-83A1-F6EECF244321}">
                <p14:modId xmlns:p14="http://schemas.microsoft.com/office/powerpoint/2010/main" val="4261827884"/>
              </p:ext>
            </p:extLst>
          </p:nvPr>
        </p:nvGraphicFramePr>
        <p:xfrm>
          <a:off x="3561468" y="3482530"/>
          <a:ext cx="2925456" cy="1596144"/>
        </p:xfrm>
        <a:graphic>
          <a:graphicData uri="http://schemas.openxmlformats.org/drawingml/2006/table">
            <a:tbl>
              <a:tblPr firstRow="1" bandRow="1">
                <a:tableStyleId>{C083E6E3-FA7D-4D7B-A595-EF9225AFEA82}</a:tableStyleId>
              </a:tblPr>
              <a:tblGrid>
                <a:gridCol w="2218768">
                  <a:extLst>
                    <a:ext uri="{9D8B030D-6E8A-4147-A177-3AD203B41FA5}">
                      <a16:colId xmlns:a16="http://schemas.microsoft.com/office/drawing/2014/main" val="878762420"/>
                    </a:ext>
                  </a:extLst>
                </a:gridCol>
                <a:gridCol w="706688">
                  <a:extLst>
                    <a:ext uri="{9D8B030D-6E8A-4147-A177-3AD203B41FA5}">
                      <a16:colId xmlns:a16="http://schemas.microsoft.com/office/drawing/2014/main" val="646333369"/>
                    </a:ext>
                  </a:extLst>
                </a:gridCol>
              </a:tblGrid>
              <a:tr h="266024">
                <a:tc>
                  <a:txBody>
                    <a:bodyPr/>
                    <a:lstStyle/>
                    <a:p>
                      <a:r>
                        <a:rPr lang="en-GB" sz="900" dirty="0">
                          <a:solidFill>
                            <a:schemeClr val="bg1"/>
                          </a:solidFill>
                          <a:latin typeface="Bierstadt" panose="020B0004020202020204" pitchFamily="34" charset="0"/>
                        </a:rPr>
                        <a:t>Name</a:t>
                      </a:r>
                    </a:p>
                  </a:txBody>
                  <a:tcPr marL="36000" marR="36000"/>
                </a:tc>
                <a:tc>
                  <a:txBody>
                    <a:bodyPr/>
                    <a:lstStyle/>
                    <a:p>
                      <a:pPr algn="ctr"/>
                      <a:r>
                        <a:rPr lang="en-GB" sz="900" dirty="0">
                          <a:solidFill>
                            <a:schemeClr val="bg1"/>
                          </a:solidFill>
                          <a:latin typeface="Bierstadt" panose="020B0004020202020204" pitchFamily="34" charset="0"/>
                        </a:rPr>
                        <a:t>% of NAV</a:t>
                      </a:r>
                    </a:p>
                  </a:txBody>
                  <a:tcPr/>
                </a:tc>
                <a:extLst>
                  <a:ext uri="{0D108BD9-81ED-4DB2-BD59-A6C34878D82A}">
                    <a16:rowId xmlns:a16="http://schemas.microsoft.com/office/drawing/2014/main" val="2235101578"/>
                  </a:ext>
                </a:extLst>
              </a:tr>
              <a:tr h="266024">
                <a:tc>
                  <a:txBody>
                    <a:bodyPr/>
                    <a:lstStyle/>
                    <a:p>
                      <a:r>
                        <a:rPr lang="en-GB" sz="900" dirty="0">
                          <a:solidFill>
                            <a:schemeClr val="bg1"/>
                          </a:solidFill>
                          <a:latin typeface="Bierstadt" panose="020B0004020202020204" pitchFamily="34" charset="0"/>
                        </a:rPr>
                        <a:t>NVIDIA Corp. </a:t>
                      </a:r>
                    </a:p>
                  </a:txBody>
                  <a:tcPr marL="36000" marR="36000" anchor="ctr"/>
                </a:tc>
                <a:tc>
                  <a:txBody>
                    <a:bodyPr/>
                    <a:lstStyle/>
                    <a:p>
                      <a:pPr algn="ctr"/>
                      <a:r>
                        <a:rPr lang="en-GB" sz="900" dirty="0">
                          <a:solidFill>
                            <a:schemeClr val="bg1"/>
                          </a:solidFill>
                          <a:latin typeface="Bierstadt" panose="020B0004020202020204" pitchFamily="34" charset="0"/>
                        </a:rPr>
                        <a:t>8.44%</a:t>
                      </a:r>
                    </a:p>
                  </a:txBody>
                  <a:tcPr anchor="ctr"/>
                </a:tc>
                <a:extLst>
                  <a:ext uri="{0D108BD9-81ED-4DB2-BD59-A6C34878D82A}">
                    <a16:rowId xmlns:a16="http://schemas.microsoft.com/office/drawing/2014/main" val="1455314511"/>
                  </a:ext>
                </a:extLst>
              </a:tr>
              <a:tr h="266024">
                <a:tc>
                  <a:txBody>
                    <a:bodyPr/>
                    <a:lstStyle/>
                    <a:p>
                      <a:r>
                        <a:rPr lang="en-GB" sz="900" dirty="0">
                          <a:solidFill>
                            <a:schemeClr val="bg1"/>
                          </a:solidFill>
                          <a:latin typeface="Bierstadt" panose="020B0004020202020204" pitchFamily="34" charset="0"/>
                        </a:rPr>
                        <a:t>Taiwan Semiconductor</a:t>
                      </a:r>
                    </a:p>
                  </a:txBody>
                  <a:tcPr marL="36000" marR="36000" anchor="ctr"/>
                </a:tc>
                <a:tc>
                  <a:txBody>
                    <a:bodyPr/>
                    <a:lstStyle/>
                    <a:p>
                      <a:pPr algn="ctr"/>
                      <a:r>
                        <a:rPr lang="en-GB" sz="900" dirty="0">
                          <a:solidFill>
                            <a:schemeClr val="bg1"/>
                          </a:solidFill>
                          <a:latin typeface="Bierstadt" panose="020B0004020202020204" pitchFamily="34" charset="0"/>
                        </a:rPr>
                        <a:t>7.74%</a:t>
                      </a:r>
                    </a:p>
                  </a:txBody>
                  <a:tcPr anchor="ctr"/>
                </a:tc>
                <a:extLst>
                  <a:ext uri="{0D108BD9-81ED-4DB2-BD59-A6C34878D82A}">
                    <a16:rowId xmlns:a16="http://schemas.microsoft.com/office/drawing/2014/main" val="3743326145"/>
                  </a:ext>
                </a:extLst>
              </a:tr>
              <a:tr h="266024">
                <a:tc>
                  <a:txBody>
                    <a:bodyPr/>
                    <a:lstStyle/>
                    <a:p>
                      <a:r>
                        <a:rPr lang="en-GB" sz="900" dirty="0">
                          <a:solidFill>
                            <a:schemeClr val="bg1"/>
                          </a:solidFill>
                          <a:latin typeface="Bierstadt" panose="020B0004020202020204" pitchFamily="34" charset="0"/>
                        </a:rPr>
                        <a:t>First Quantum Minerals Ltd</a:t>
                      </a:r>
                    </a:p>
                  </a:txBody>
                  <a:tcPr marL="36000" marR="36000" anchor="ctr"/>
                </a:tc>
                <a:tc>
                  <a:txBody>
                    <a:bodyPr/>
                    <a:lstStyle/>
                    <a:p>
                      <a:pPr algn="ctr"/>
                      <a:r>
                        <a:rPr lang="en-GB" sz="900" dirty="0">
                          <a:solidFill>
                            <a:schemeClr val="bg1"/>
                          </a:solidFill>
                          <a:latin typeface="Bierstadt" panose="020B0004020202020204" pitchFamily="34" charset="0"/>
                        </a:rPr>
                        <a:t>7.50%</a:t>
                      </a:r>
                    </a:p>
                  </a:txBody>
                  <a:tcPr anchor="ctr"/>
                </a:tc>
                <a:extLst>
                  <a:ext uri="{0D108BD9-81ED-4DB2-BD59-A6C34878D82A}">
                    <a16:rowId xmlns:a16="http://schemas.microsoft.com/office/drawing/2014/main" val="34337268"/>
                  </a:ext>
                </a:extLst>
              </a:tr>
              <a:tr h="266024">
                <a:tc>
                  <a:txBody>
                    <a:bodyPr/>
                    <a:lstStyle/>
                    <a:p>
                      <a:r>
                        <a:rPr lang="en-GB" sz="900" dirty="0">
                          <a:solidFill>
                            <a:schemeClr val="bg1"/>
                          </a:solidFill>
                          <a:latin typeface="Bierstadt" panose="020B0004020202020204" pitchFamily="34" charset="0"/>
                        </a:rPr>
                        <a:t>JP Morgan Chase &amp; Co.</a:t>
                      </a:r>
                    </a:p>
                  </a:txBody>
                  <a:tcPr marL="36000" marR="36000" anchor="ctr"/>
                </a:tc>
                <a:tc>
                  <a:txBody>
                    <a:bodyPr/>
                    <a:lstStyle/>
                    <a:p>
                      <a:pPr algn="ctr"/>
                      <a:r>
                        <a:rPr lang="en-GB" sz="900" dirty="0">
                          <a:solidFill>
                            <a:schemeClr val="bg1"/>
                          </a:solidFill>
                          <a:latin typeface="Bierstadt" panose="020B0004020202020204" pitchFamily="34" charset="0"/>
                        </a:rPr>
                        <a:t>7.36%</a:t>
                      </a:r>
                    </a:p>
                  </a:txBody>
                  <a:tcPr anchor="ctr"/>
                </a:tc>
                <a:extLst>
                  <a:ext uri="{0D108BD9-81ED-4DB2-BD59-A6C34878D82A}">
                    <a16:rowId xmlns:a16="http://schemas.microsoft.com/office/drawing/2014/main" val="3116781964"/>
                  </a:ext>
                </a:extLst>
              </a:tr>
              <a:tr h="266024">
                <a:tc>
                  <a:txBody>
                    <a:bodyPr/>
                    <a:lstStyle/>
                    <a:p>
                      <a:r>
                        <a:rPr lang="en-GB" sz="900" dirty="0">
                          <a:solidFill>
                            <a:schemeClr val="bg1"/>
                          </a:solidFill>
                          <a:latin typeface="Bierstadt" panose="020B0004020202020204" pitchFamily="34" charset="0"/>
                        </a:rPr>
                        <a:t>Meta Platforms inc.</a:t>
                      </a:r>
                    </a:p>
                  </a:txBody>
                  <a:tcPr marL="36000" marR="36000" anchor="ctr"/>
                </a:tc>
                <a:tc>
                  <a:txBody>
                    <a:bodyPr/>
                    <a:lstStyle/>
                    <a:p>
                      <a:pPr algn="ctr"/>
                      <a:r>
                        <a:rPr lang="en-GB" sz="900" dirty="0">
                          <a:solidFill>
                            <a:schemeClr val="bg1"/>
                          </a:solidFill>
                          <a:latin typeface="Bierstadt" panose="020B0004020202020204" pitchFamily="34" charset="0"/>
                        </a:rPr>
                        <a:t>6.43%</a:t>
                      </a:r>
                    </a:p>
                  </a:txBody>
                  <a:tcPr anchor="ctr"/>
                </a:tc>
                <a:extLst>
                  <a:ext uri="{0D108BD9-81ED-4DB2-BD59-A6C34878D82A}">
                    <a16:rowId xmlns:a16="http://schemas.microsoft.com/office/drawing/2014/main" val="3350189937"/>
                  </a:ext>
                </a:extLst>
              </a:tr>
            </a:tbl>
          </a:graphicData>
        </a:graphic>
      </p:graphicFrame>
      <p:pic>
        <p:nvPicPr>
          <p:cNvPr id="1154" name="Picture 1153">
            <a:extLst>
              <a:ext uri="{FF2B5EF4-FFF2-40B4-BE49-F238E27FC236}">
                <a16:creationId xmlns:a16="http://schemas.microsoft.com/office/drawing/2014/main" id="{49B199E8-778D-2570-ADCC-BCC2EC8328F9}"/>
              </a:ext>
            </a:extLst>
          </p:cNvPr>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Lst>
          </a:blip>
          <a:stretch>
            <a:fillRect/>
          </a:stretch>
        </p:blipFill>
        <p:spPr>
          <a:xfrm>
            <a:off x="5185390" y="4313254"/>
            <a:ext cx="409089" cy="191932"/>
          </a:xfrm>
          <a:prstGeom prst="rect">
            <a:avLst/>
          </a:prstGeom>
        </p:spPr>
      </p:pic>
      <p:pic>
        <p:nvPicPr>
          <p:cNvPr id="1153" name="Picture 1152">
            <a:extLst>
              <a:ext uri="{FF2B5EF4-FFF2-40B4-BE49-F238E27FC236}">
                <a16:creationId xmlns:a16="http://schemas.microsoft.com/office/drawing/2014/main" id="{E16501DF-2F2C-91E3-C393-56BFE5D9703E}"/>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Lst>
          </a:blip>
          <a:stretch>
            <a:fillRect/>
          </a:stretch>
        </p:blipFill>
        <p:spPr>
          <a:xfrm>
            <a:off x="5128379" y="3858182"/>
            <a:ext cx="523112" cy="95905"/>
          </a:xfrm>
          <a:prstGeom prst="rect">
            <a:avLst/>
          </a:prstGeom>
        </p:spPr>
      </p:pic>
      <p:sp>
        <p:nvSpPr>
          <p:cNvPr id="5" name="Return since inception textbox">
            <a:extLst>
              <a:ext uri="{FF2B5EF4-FFF2-40B4-BE49-F238E27FC236}">
                <a16:creationId xmlns:a16="http://schemas.microsoft.com/office/drawing/2014/main" id="{FF8C9359-079B-6CB5-3198-486A750D758F}"/>
              </a:ext>
            </a:extLst>
          </p:cNvPr>
          <p:cNvSpPr/>
          <p:nvPr/>
        </p:nvSpPr>
        <p:spPr>
          <a:xfrm>
            <a:off x="364607"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return in USD </a:t>
            </a:r>
            <a:br>
              <a:rPr lang="en-GB" sz="700" dirty="0">
                <a:solidFill>
                  <a:schemeClr val="bg1"/>
                </a:solidFill>
              </a:rPr>
            </a:br>
            <a:r>
              <a:rPr lang="en-GB" sz="700" dirty="0">
                <a:solidFill>
                  <a:schemeClr val="bg1"/>
                </a:solidFill>
              </a:rPr>
              <a:t>since inception</a:t>
            </a:r>
            <a:endParaRPr lang="en-GB" sz="1000" b="1" dirty="0">
              <a:solidFill>
                <a:schemeClr val="bg1"/>
              </a:solidFill>
            </a:endParaRPr>
          </a:p>
        </p:txBody>
      </p:sp>
      <p:pic>
        <p:nvPicPr>
          <p:cNvPr id="1156" name="Picture 1155">
            <a:extLst>
              <a:ext uri="{FF2B5EF4-FFF2-40B4-BE49-F238E27FC236}">
                <a16:creationId xmlns:a16="http://schemas.microsoft.com/office/drawing/2014/main" id="{704277E7-DB22-E266-5D21-BD9C00F72855}"/>
              </a:ext>
            </a:extLst>
          </p:cNvPr>
          <p:cNvPicPr>
            <a:picLocks noChangeAspect="1"/>
          </p:cNvPicPr>
          <p:nvPr/>
        </p:nvPicPr>
        <p:blipFill>
          <a:blip r:embed="rId18"/>
          <a:srcRect l="28587" r="28587"/>
          <a:stretch>
            <a:fillRect/>
          </a:stretch>
        </p:blipFill>
        <p:spPr>
          <a:xfrm>
            <a:off x="5272617" y="4057954"/>
            <a:ext cx="234635" cy="182629"/>
          </a:xfrm>
          <a:prstGeom prst="rect">
            <a:avLst/>
          </a:prstGeom>
        </p:spPr>
      </p:pic>
      <p:pic>
        <p:nvPicPr>
          <p:cNvPr id="1157" name="Picture 1156">
            <a:extLst>
              <a:ext uri="{FF2B5EF4-FFF2-40B4-BE49-F238E27FC236}">
                <a16:creationId xmlns:a16="http://schemas.microsoft.com/office/drawing/2014/main" id="{B3FAC5A4-A457-C2FF-A22A-0BF707979552}"/>
              </a:ext>
            </a:extLst>
          </p:cNvPr>
          <p:cNvPicPr>
            <a:picLocks noChangeAspect="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Lst>
          </a:blip>
          <a:stretch>
            <a:fillRect/>
          </a:stretch>
        </p:blipFill>
        <p:spPr>
          <a:xfrm>
            <a:off x="5113390" y="4620541"/>
            <a:ext cx="553088" cy="113614"/>
          </a:xfrm>
          <a:prstGeom prst="rect">
            <a:avLst/>
          </a:prstGeom>
        </p:spPr>
      </p:pic>
      <p:pic>
        <p:nvPicPr>
          <p:cNvPr id="1158" name="Picture 1157">
            <a:extLst>
              <a:ext uri="{FF2B5EF4-FFF2-40B4-BE49-F238E27FC236}">
                <a16:creationId xmlns:a16="http://schemas.microsoft.com/office/drawing/2014/main" id="{002F52CE-9C6A-941E-158B-2E461D399CDF}"/>
              </a:ext>
            </a:extLst>
          </p:cNvPr>
          <p:cNvPicPr>
            <a:picLocks noChangeAspect="1"/>
          </p:cNvPicPr>
          <p:nvPr/>
        </p:nvPicPr>
        <p:blipFill>
          <a:blip r:embed="rId21">
            <a:extLst>
              <a:ext uri="{BEBA8EAE-BF5A-486C-A8C5-ECC9F3942E4B}">
                <a14:imgProps xmlns:a14="http://schemas.microsoft.com/office/drawing/2010/main">
                  <a14:imgLayer r:embed="rId22">
                    <a14:imgEffect>
                      <a14:brightnessContrast bright="100000"/>
                    </a14:imgEffect>
                  </a14:imgLayer>
                </a14:imgProps>
              </a:ext>
            </a:extLst>
          </a:blip>
          <a:stretch>
            <a:fillRect/>
          </a:stretch>
        </p:blipFill>
        <p:spPr>
          <a:xfrm>
            <a:off x="5163456" y="4909910"/>
            <a:ext cx="452956" cy="91260"/>
          </a:xfrm>
          <a:prstGeom prst="rect">
            <a:avLst/>
          </a:prstGeom>
        </p:spPr>
      </p:pic>
      <p:sp>
        <p:nvSpPr>
          <p:cNvPr id="10" name="avg compounded yearly return since inception textbox">
            <a:extLst>
              <a:ext uri="{FF2B5EF4-FFF2-40B4-BE49-F238E27FC236}">
                <a16:creationId xmlns:a16="http://schemas.microsoft.com/office/drawing/2014/main" id="{5ACF03ED-94B4-9721-D6EE-2F6EAEB25292}"/>
              </a:ext>
            </a:extLst>
          </p:cNvPr>
          <p:cNvSpPr/>
          <p:nvPr/>
        </p:nvSpPr>
        <p:spPr>
          <a:xfrm>
            <a:off x="2371535"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none"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Avg. </a:t>
            </a:r>
            <a:r>
              <a:rPr lang="en-US" sz="700" dirty="0">
                <a:solidFill>
                  <a:schemeClr val="bg1"/>
                </a:solidFill>
              </a:rPr>
              <a:t>compounded yearly</a:t>
            </a:r>
            <a:br>
              <a:rPr lang="en-US" sz="700" dirty="0">
                <a:solidFill>
                  <a:schemeClr val="bg1"/>
                </a:solidFill>
              </a:rPr>
            </a:br>
            <a:r>
              <a:rPr lang="en-US" sz="700" dirty="0">
                <a:solidFill>
                  <a:schemeClr val="bg1"/>
                </a:solidFill>
              </a:rPr>
              <a:t>return since inception</a:t>
            </a:r>
            <a:endParaRPr lang="en-GB" sz="900" b="1" dirty="0">
              <a:solidFill>
                <a:schemeClr val="bg1"/>
              </a:solidFill>
            </a:endParaRPr>
          </a:p>
        </p:txBody>
      </p:sp>
      <p:sp>
        <p:nvSpPr>
          <p:cNvPr id="9" name="YTD return textbox">
            <a:extLst>
              <a:ext uri="{FF2B5EF4-FFF2-40B4-BE49-F238E27FC236}">
                <a16:creationId xmlns:a16="http://schemas.microsoft.com/office/drawing/2014/main" id="{4F743491-8F3F-770B-A226-293C9C2C03FC}"/>
              </a:ext>
            </a:extLst>
          </p:cNvPr>
          <p:cNvSpPr/>
          <p:nvPr/>
        </p:nvSpPr>
        <p:spPr>
          <a:xfrm>
            <a:off x="1368071" y="3812897"/>
            <a:ext cx="931464" cy="456842"/>
          </a:xfrm>
          <a:prstGeom prst="rect">
            <a:avLst/>
          </a:prstGeom>
          <a:noFill/>
          <a:ln w="12700" cap="flat" cmpd="sng" algn="ctr">
            <a:solidFill>
              <a:schemeClr val="bg1">
                <a:alpha val="50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dirty="0">
                <a:solidFill>
                  <a:schemeClr val="bg1"/>
                </a:solidFill>
              </a:rPr>
              <a:t> </a:t>
            </a:r>
            <a:br>
              <a:rPr lang="en-GB" sz="1000" b="1" dirty="0">
                <a:solidFill>
                  <a:schemeClr val="bg1"/>
                </a:solidFill>
              </a:rPr>
            </a:br>
            <a:r>
              <a:rPr lang="en-GB" sz="700" dirty="0">
                <a:solidFill>
                  <a:schemeClr val="bg1"/>
                </a:solidFill>
              </a:rPr>
              <a:t>Total YTD return </a:t>
            </a:r>
            <a:br>
              <a:rPr lang="en-GB" sz="700" dirty="0">
                <a:solidFill>
                  <a:schemeClr val="bg1"/>
                </a:solidFill>
              </a:rPr>
            </a:br>
            <a:r>
              <a:rPr lang="en-GB" sz="700" dirty="0">
                <a:solidFill>
                  <a:schemeClr val="bg1"/>
                </a:solidFill>
              </a:rPr>
              <a:t>in USD</a:t>
            </a:r>
            <a:endParaRPr lang="en-GB" sz="1000" b="1" dirty="0">
              <a:solidFill>
                <a:schemeClr val="bg1"/>
              </a:solidFill>
            </a:endParaRPr>
          </a:p>
        </p:txBody>
      </p:sp>
      <p:graphicFrame>
        <p:nvGraphicFramePr>
          <p:cNvPr id="6" name="VOLATILITY_TABLE">
            <a:extLst>
              <a:ext uri="{FF2B5EF4-FFF2-40B4-BE49-F238E27FC236}">
                <a16:creationId xmlns:a16="http://schemas.microsoft.com/office/drawing/2014/main" id="{181714F8-70BB-E94C-F57D-21041F9D1C79}"/>
              </a:ext>
            </a:extLst>
          </p:cNvPr>
          <p:cNvGraphicFramePr>
            <a:graphicFrameLocks noGrp="1"/>
          </p:cNvGraphicFramePr>
          <p:nvPr>
            <p:extLst>
              <p:ext uri="{D42A27DB-BD31-4B8C-83A1-F6EECF244321}">
                <p14:modId xmlns:p14="http://schemas.microsoft.com/office/powerpoint/2010/main" val="388570663"/>
              </p:ext>
            </p:extLst>
          </p:nvPr>
        </p:nvGraphicFramePr>
        <p:xfrm>
          <a:off x="3561469" y="5410372"/>
          <a:ext cx="2925455" cy="1264804"/>
        </p:xfrm>
        <a:graphic>
          <a:graphicData uri="http://schemas.openxmlformats.org/drawingml/2006/table">
            <a:tbl>
              <a:tblPr firstRow="1" bandRow="1">
                <a:tableStyleId>{C083E6E3-FA7D-4D7B-A595-EF9225AFEA82}</a:tableStyleId>
              </a:tblPr>
              <a:tblGrid>
                <a:gridCol w="1205603">
                  <a:extLst>
                    <a:ext uri="{9D8B030D-6E8A-4147-A177-3AD203B41FA5}">
                      <a16:colId xmlns:a16="http://schemas.microsoft.com/office/drawing/2014/main" val="3093225150"/>
                    </a:ext>
                  </a:extLst>
                </a:gridCol>
                <a:gridCol w="859926">
                  <a:extLst>
                    <a:ext uri="{9D8B030D-6E8A-4147-A177-3AD203B41FA5}">
                      <a16:colId xmlns:a16="http://schemas.microsoft.com/office/drawing/2014/main" val="2083068548"/>
                    </a:ext>
                  </a:extLst>
                </a:gridCol>
                <a:gridCol w="859926">
                  <a:extLst>
                    <a:ext uri="{9D8B030D-6E8A-4147-A177-3AD203B41FA5}">
                      <a16:colId xmlns:a16="http://schemas.microsoft.com/office/drawing/2014/main" val="707442416"/>
                    </a:ext>
                  </a:extLst>
                </a:gridCol>
              </a:tblGrid>
              <a:tr h="237672">
                <a:tc>
                  <a:txBody>
                    <a:bodyPr/>
                    <a:lstStyle/>
                    <a:p>
                      <a:r>
                        <a:rPr lang="en-GB" sz="900" dirty="0">
                          <a:solidFill>
                            <a:schemeClr val="bg1"/>
                          </a:solidFill>
                          <a:latin typeface="Bierstadt" panose="020B0004020202020204" pitchFamily="34" charset="0"/>
                        </a:rPr>
                        <a:t>Metric</a:t>
                      </a:r>
                    </a:p>
                  </a:txBody>
                  <a:tcPr marL="36000" marR="36000"/>
                </a:tc>
                <a:tc>
                  <a:txBody>
                    <a:bodyPr/>
                    <a:lstStyle/>
                    <a:p>
                      <a:pPr algn="ctr"/>
                      <a:r>
                        <a:rPr lang="en-GB" sz="900" dirty="0">
                          <a:solidFill>
                            <a:schemeClr val="bg1"/>
                          </a:solidFill>
                          <a:latin typeface="Bierstadt" panose="020B0004020202020204" pitchFamily="34" charset="0"/>
                        </a:rPr>
                        <a:t>Portfolio</a:t>
                      </a:r>
                    </a:p>
                  </a:txBody>
                  <a:tcPr/>
                </a:tc>
                <a:tc>
                  <a:txBody>
                    <a:bodyPr/>
                    <a:lstStyle/>
                    <a:p>
                      <a:pPr algn="ctr"/>
                      <a:r>
                        <a:rPr lang="en-GB" sz="900" dirty="0">
                          <a:solidFill>
                            <a:schemeClr val="bg1"/>
                          </a:solidFill>
                          <a:latin typeface="Bierstadt" panose="020B0004020202020204" pitchFamily="34" charset="0"/>
                        </a:rPr>
                        <a:t>Benchmark</a:t>
                      </a:r>
                    </a:p>
                  </a:txBody>
                  <a:tcPr/>
                </a:tc>
                <a:extLst>
                  <a:ext uri="{0D108BD9-81ED-4DB2-BD59-A6C34878D82A}">
                    <a16:rowId xmlns:a16="http://schemas.microsoft.com/office/drawing/2014/main" val="3994823784"/>
                  </a:ext>
                </a:extLst>
              </a:tr>
              <a:tr h="323188">
                <a:tc>
                  <a:txBody>
                    <a:bodyPr/>
                    <a:lstStyle/>
                    <a:p>
                      <a:r>
                        <a:rPr lang="en-GB" sz="900" dirty="0">
                          <a:solidFill>
                            <a:schemeClr val="bg1"/>
                          </a:solidFill>
                          <a:latin typeface="Bierstadt" panose="020B0004020202020204" pitchFamily="34" charset="0"/>
                        </a:rPr>
                        <a:t>Mean monthly return</a:t>
                      </a:r>
                    </a:p>
                  </a:txBody>
                  <a:tcPr marL="36000" marR="36000" anchor="ctr"/>
                </a:tc>
                <a:tc>
                  <a:txBody>
                    <a:bodyPr/>
                    <a:lstStyle/>
                    <a:p>
                      <a:pPr algn="ctr"/>
                      <a:r>
                        <a:rPr lang="en-GB" sz="900" dirty="0">
                          <a:solidFill>
                            <a:schemeClr val="bg1"/>
                          </a:solidFill>
                          <a:latin typeface="Bierstadt" panose="020B0004020202020204" pitchFamily="34" charset="0"/>
                        </a:rPr>
                        <a:t>1.05%</a:t>
                      </a:r>
                    </a:p>
                  </a:txBody>
                  <a:tcPr anchor="ctr"/>
                </a:tc>
                <a:tc>
                  <a:txBody>
                    <a:bodyPr/>
                    <a:lstStyle/>
                    <a:p>
                      <a:pPr algn="ctr"/>
                      <a:r>
                        <a:rPr lang="en-GB" sz="900" dirty="0">
                          <a:solidFill>
                            <a:schemeClr val="bg1"/>
                          </a:solidFill>
                          <a:latin typeface="Bierstadt" panose="020B0004020202020204" pitchFamily="34" charset="0"/>
                        </a:rPr>
                        <a:t>0.81%</a:t>
                      </a:r>
                    </a:p>
                  </a:txBody>
                  <a:tcPr anchor="ctr"/>
                </a:tc>
                <a:extLst>
                  <a:ext uri="{0D108BD9-81ED-4DB2-BD59-A6C34878D82A}">
                    <a16:rowId xmlns:a16="http://schemas.microsoft.com/office/drawing/2014/main" val="3917662697"/>
                  </a:ext>
                </a:extLst>
              </a:tr>
              <a:tr h="237672">
                <a:tc>
                  <a:txBody>
                    <a:bodyPr/>
                    <a:lstStyle/>
                    <a:p>
                      <a:r>
                        <a:rPr lang="en-GB" sz="900" dirty="0">
                          <a:solidFill>
                            <a:schemeClr val="bg1"/>
                          </a:solidFill>
                          <a:latin typeface="Bierstadt" panose="020B0004020202020204" pitchFamily="34" charset="0"/>
                        </a:rPr>
                        <a:t>Std Dev (Monthly)</a:t>
                      </a:r>
                    </a:p>
                  </a:txBody>
                  <a:tcPr marL="36000" marR="36000" anchor="ctr"/>
                </a:tc>
                <a:tc>
                  <a:txBody>
                    <a:bodyPr/>
                    <a:lstStyle/>
                    <a:p>
                      <a:pPr algn="ctr"/>
                      <a:r>
                        <a:rPr lang="en-GB" sz="900" dirty="0">
                          <a:solidFill>
                            <a:schemeClr val="bg1"/>
                          </a:solidFill>
                          <a:latin typeface="Bierstadt" panose="020B0004020202020204" pitchFamily="34" charset="0"/>
                        </a:rPr>
                        <a:t>5.36%</a:t>
                      </a:r>
                    </a:p>
                  </a:txBody>
                  <a:tcPr anchor="ctr"/>
                </a:tc>
                <a:tc>
                  <a:txBody>
                    <a:bodyPr/>
                    <a:lstStyle/>
                    <a:p>
                      <a:pPr algn="ctr"/>
                      <a:r>
                        <a:rPr lang="en-GB" sz="900" dirty="0">
                          <a:solidFill>
                            <a:schemeClr val="bg1"/>
                          </a:solidFill>
                          <a:latin typeface="Bierstadt" panose="020B0004020202020204" pitchFamily="34" charset="0"/>
                        </a:rPr>
                        <a:t>4.51%</a:t>
                      </a:r>
                    </a:p>
                  </a:txBody>
                  <a:tcPr anchor="ctr"/>
                </a:tc>
                <a:extLst>
                  <a:ext uri="{0D108BD9-81ED-4DB2-BD59-A6C34878D82A}">
                    <a16:rowId xmlns:a16="http://schemas.microsoft.com/office/drawing/2014/main" val="3393200440"/>
                  </a:ext>
                </a:extLst>
              </a:tr>
              <a:tr h="237672">
                <a:tc>
                  <a:txBody>
                    <a:bodyPr/>
                    <a:lstStyle/>
                    <a:p>
                      <a:r>
                        <a:rPr lang="en-GB" sz="900" b="1" dirty="0">
                          <a:solidFill>
                            <a:schemeClr val="bg1"/>
                          </a:solidFill>
                          <a:latin typeface="Bierstadt" panose="020B0004020202020204" pitchFamily="34" charset="0"/>
                        </a:rPr>
                        <a:t>Annualized Volatility</a:t>
                      </a:r>
                    </a:p>
                  </a:txBody>
                  <a:tcPr marL="36000" marR="36000" anchor="ctr"/>
                </a:tc>
                <a:tc>
                  <a:txBody>
                    <a:bodyPr/>
                    <a:lstStyle/>
                    <a:p>
                      <a:pPr algn="ctr"/>
                      <a:r>
                        <a:rPr lang="en-GB" sz="900" b="1" dirty="0">
                          <a:solidFill>
                            <a:schemeClr val="bg1"/>
                          </a:solidFill>
                          <a:latin typeface="Bierstadt" panose="020B0004020202020204" pitchFamily="34" charset="0"/>
                        </a:rPr>
                        <a:t>18.58%</a:t>
                      </a:r>
                    </a:p>
                  </a:txBody>
                  <a:tcPr anchor="ctr"/>
                </a:tc>
                <a:tc>
                  <a:txBody>
                    <a:bodyPr/>
                    <a:lstStyle/>
                    <a:p>
                      <a:pPr algn="ctr"/>
                      <a:r>
                        <a:rPr lang="en-GB" sz="900" b="1" dirty="0">
                          <a:solidFill>
                            <a:schemeClr val="bg1"/>
                          </a:solidFill>
                          <a:latin typeface="Bierstadt" panose="020B0004020202020204" pitchFamily="34" charset="0"/>
                        </a:rPr>
                        <a:t>15.64%</a:t>
                      </a:r>
                    </a:p>
                  </a:txBody>
                  <a:tcPr anchor="ctr"/>
                </a:tc>
                <a:extLst>
                  <a:ext uri="{0D108BD9-81ED-4DB2-BD59-A6C34878D82A}">
                    <a16:rowId xmlns:a16="http://schemas.microsoft.com/office/drawing/2014/main" val="1147317178"/>
                  </a:ext>
                </a:extLst>
              </a:tr>
              <a:tr h="0">
                <a:tc>
                  <a:txBody>
                    <a:bodyPr/>
                    <a:lstStyle/>
                    <a:p>
                      <a:r>
                        <a:rPr lang="en-GB" sz="900" b="0" dirty="0">
                          <a:solidFill>
                            <a:schemeClr val="bg1"/>
                          </a:solidFill>
                          <a:latin typeface="Bierstadt" panose="020B0004020202020204" pitchFamily="34" charset="0"/>
                        </a:rPr>
                        <a:t>Sharp ratio</a:t>
                      </a:r>
                    </a:p>
                  </a:txBody>
                  <a:tcPr marL="36000" marR="36000" anchor="ctr"/>
                </a:tc>
                <a:tc>
                  <a:txBody>
                    <a:bodyPr/>
                    <a:lstStyle/>
                    <a:p>
                      <a:pPr algn="ctr"/>
                      <a:r>
                        <a:rPr lang="en-GB" sz="900" b="0" dirty="0">
                          <a:solidFill>
                            <a:schemeClr val="bg1"/>
                          </a:solidFill>
                          <a:latin typeface="Bierstadt" panose="020B0004020202020204" pitchFamily="34" charset="0"/>
                        </a:rPr>
                        <a:t>0.48</a:t>
                      </a:r>
                    </a:p>
                  </a:txBody>
                  <a:tcPr anchor="ctr"/>
                </a:tc>
                <a:tc>
                  <a:txBody>
                    <a:bodyPr/>
                    <a:lstStyle/>
                    <a:p>
                      <a:pPr algn="ctr"/>
                      <a:r>
                        <a:rPr lang="en-GB" sz="900" b="0" dirty="0">
                          <a:solidFill>
                            <a:schemeClr val="bg1"/>
                          </a:solidFill>
                          <a:latin typeface="Bierstadt" panose="020B0004020202020204" pitchFamily="34" charset="0"/>
                        </a:rPr>
                        <a:t>0.36</a:t>
                      </a:r>
                    </a:p>
                  </a:txBody>
                  <a:tcPr anchor="ctr"/>
                </a:tc>
                <a:extLst>
                  <a:ext uri="{0D108BD9-81ED-4DB2-BD59-A6C34878D82A}">
                    <a16:rowId xmlns:a16="http://schemas.microsoft.com/office/drawing/2014/main" val="802987148"/>
                  </a:ext>
                </a:extLst>
              </a:tr>
            </a:tbl>
          </a:graphicData>
        </a:graphic>
      </p:graphicFrame>
      <p:grpSp>
        <p:nvGrpSpPr>
          <p:cNvPr id="7" name="Group 6">
            <a:extLst>
              <a:ext uri="{FF2B5EF4-FFF2-40B4-BE49-F238E27FC236}">
                <a16:creationId xmlns:a16="http://schemas.microsoft.com/office/drawing/2014/main" id="{10A7D411-409F-A063-D278-8929DD099352}"/>
              </a:ext>
            </a:extLst>
          </p:cNvPr>
          <p:cNvGrpSpPr/>
          <p:nvPr/>
        </p:nvGrpSpPr>
        <p:grpSpPr>
          <a:xfrm>
            <a:off x="3483000" y="3162351"/>
            <a:ext cx="3082392" cy="232459"/>
            <a:chOff x="292608" y="1013780"/>
            <a:chExt cx="3082392" cy="232459"/>
          </a:xfrm>
        </p:grpSpPr>
        <p:cxnSp>
          <p:nvCxnSpPr>
            <p:cNvPr id="8" name="Straight Connector 7">
              <a:extLst>
                <a:ext uri="{FF2B5EF4-FFF2-40B4-BE49-F238E27FC236}">
                  <a16:creationId xmlns:a16="http://schemas.microsoft.com/office/drawing/2014/main" id="{612F75D1-B1E7-FD43-4229-5B177B8433AA}"/>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CFCFE3C-E54F-00D4-0602-B5506729367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Top 5 holdings</a:t>
              </a:r>
              <a:endParaRPr lang="en-GB" sz="1000" b="1" dirty="0">
                <a:solidFill>
                  <a:schemeClr val="bg1"/>
                </a:solidFill>
                <a:latin typeface="Bierstadt"/>
              </a:endParaRPr>
            </a:p>
          </p:txBody>
        </p:sp>
      </p:grpSp>
      <p:graphicFrame>
        <p:nvGraphicFramePr>
          <p:cNvPr id="16" name="CHART_PERF_LINE">
            <a:extLst>
              <a:ext uri="{FF2B5EF4-FFF2-40B4-BE49-F238E27FC236}">
                <a16:creationId xmlns:a16="http://schemas.microsoft.com/office/drawing/2014/main" id="{E4A34720-26F5-61E7-9AE8-9FBD771B264F}"/>
              </a:ext>
            </a:extLst>
          </p:cNvPr>
          <p:cNvGraphicFramePr>
            <a:graphicFrameLocks/>
          </p:cNvGraphicFramePr>
          <p:nvPr>
            <p:extLst>
              <p:ext uri="{D42A27DB-BD31-4B8C-83A1-F6EECF244321}">
                <p14:modId xmlns:p14="http://schemas.microsoft.com/office/powerpoint/2010/main" val="3645003504"/>
              </p:ext>
            </p:extLst>
          </p:nvPr>
        </p:nvGraphicFramePr>
        <p:xfrm>
          <a:off x="292608" y="4298812"/>
          <a:ext cx="3082392" cy="2446545"/>
        </p:xfrm>
        <a:graphic>
          <a:graphicData uri="http://schemas.openxmlformats.org/drawingml/2006/chart">
            <c:chart xmlns:c="http://schemas.openxmlformats.org/drawingml/2006/chart" xmlns:r="http://schemas.openxmlformats.org/officeDocument/2006/relationships" r:id="rId23"/>
          </a:graphicData>
        </a:graphic>
      </p:graphicFrame>
      <p:sp>
        <p:nvSpPr>
          <p:cNvPr id="14" name="RET_SINCE_INCEPT">
            <a:extLst>
              <a:ext uri="{FF2B5EF4-FFF2-40B4-BE49-F238E27FC236}">
                <a16:creationId xmlns:a16="http://schemas.microsoft.com/office/drawing/2014/main" id="{1680B882-72BD-71AE-6730-B8ECD1E99FA0}"/>
              </a:ext>
            </a:extLst>
          </p:cNvPr>
          <p:cNvSpPr/>
          <p:nvPr/>
        </p:nvSpPr>
        <p:spPr>
          <a:xfrm>
            <a:off x="364607"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 42.3%</a:t>
            </a:r>
            <a:br>
              <a:rPr lang="en-GB" sz="1000" b="1" dirty="0">
                <a:solidFill>
                  <a:schemeClr val="bg1"/>
                </a:solidFill>
              </a:rPr>
            </a:br>
            <a:endParaRPr lang="en-GB" sz="1000" b="1" dirty="0">
              <a:solidFill>
                <a:schemeClr val="bg1"/>
              </a:solidFill>
            </a:endParaRPr>
          </a:p>
        </p:txBody>
      </p:sp>
      <p:sp>
        <p:nvSpPr>
          <p:cNvPr id="15" name="YTD_RETURN_USD">
            <a:extLst>
              <a:ext uri="{FF2B5EF4-FFF2-40B4-BE49-F238E27FC236}">
                <a16:creationId xmlns:a16="http://schemas.microsoft.com/office/drawing/2014/main" id="{392C4E61-6CE6-4980-5659-C6652696343C}"/>
              </a:ext>
            </a:extLst>
          </p:cNvPr>
          <p:cNvSpPr/>
          <p:nvPr/>
        </p:nvSpPr>
        <p:spPr>
          <a:xfrm>
            <a:off x="1368071"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16.7%</a:t>
            </a:r>
            <a:endParaRPr lang="en-GB" sz="1000" b="1" dirty="0">
              <a:solidFill>
                <a:schemeClr val="bg1"/>
              </a:solidFill>
            </a:endParaRPr>
          </a:p>
        </p:txBody>
      </p:sp>
      <p:sp>
        <p:nvSpPr>
          <p:cNvPr id="17" name="AVG_Y_COMP_RET_SINCE_INCEPT">
            <a:extLst>
              <a:ext uri="{FF2B5EF4-FFF2-40B4-BE49-F238E27FC236}">
                <a16:creationId xmlns:a16="http://schemas.microsoft.com/office/drawing/2014/main" id="{3B7398A2-22FB-9185-21DD-EABB29FA203D}"/>
              </a:ext>
            </a:extLst>
          </p:cNvPr>
          <p:cNvSpPr/>
          <p:nvPr/>
        </p:nvSpPr>
        <p:spPr>
          <a:xfrm>
            <a:off x="2371535" y="3798611"/>
            <a:ext cx="931464" cy="226544"/>
          </a:xfrm>
          <a:prstGeom prst="rect">
            <a:avLst/>
          </a:prstGeom>
          <a:noFill/>
          <a:ln w="12700" cap="flat" cmpd="sng" algn="ctr">
            <a:no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t"/>
          <a:lstStyle/>
          <a:p>
            <a:pPr algn="ctr"/>
            <a:r>
              <a:rPr lang="en-GB" sz="1200" b="1" dirty="0">
                <a:solidFill>
                  <a:schemeClr val="bg1"/>
                </a:solidFill>
              </a:rPr>
              <a:t>9.2%</a:t>
            </a:r>
            <a:endParaRPr lang="en-GB" sz="1000" b="1" dirty="0">
              <a:solidFill>
                <a:schemeClr val="bg1"/>
              </a:solidFill>
            </a:endParaRPr>
          </a:p>
        </p:txBody>
      </p:sp>
    </p:spTree>
    <p:extLst>
      <p:ext uri="{BB962C8B-B14F-4D97-AF65-F5344CB8AC3E}">
        <p14:creationId xmlns:p14="http://schemas.microsoft.com/office/powerpoint/2010/main" val="1086331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8F08F-1CCE-FF7E-0781-148612BCC4E5}"/>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2779A11D-480E-334A-262D-11CDEC753E12}"/>
              </a:ext>
            </a:extLst>
          </p:cNvPr>
          <p:cNvPicPr>
            <a:picLocks noChangeAspect="1"/>
          </p:cNvPicPr>
          <p:nvPr/>
        </p:nvPicPr>
        <p:blipFill>
          <a:blip r:embed="rId3"/>
          <a:srcRect l="22209" r="31694"/>
          <a:stretch>
            <a:fillRect/>
          </a:stretch>
        </p:blipFill>
        <p:spPr>
          <a:xfrm>
            <a:off x="0" y="0"/>
            <a:ext cx="6858000" cy="9918192"/>
          </a:xfrm>
          <a:prstGeom prst="rect">
            <a:avLst/>
          </a:prstGeom>
        </p:spPr>
      </p:pic>
      <p:sp>
        <p:nvSpPr>
          <p:cNvPr id="21" name="Rectangle 20">
            <a:extLst>
              <a:ext uri="{FF2B5EF4-FFF2-40B4-BE49-F238E27FC236}">
                <a16:creationId xmlns:a16="http://schemas.microsoft.com/office/drawing/2014/main" id="{FFBF8C92-1768-16F6-C6A4-7E343B895641}"/>
              </a:ext>
            </a:extLst>
          </p:cNvPr>
          <p:cNvSpPr/>
          <p:nvPr/>
        </p:nvSpPr>
        <p:spPr>
          <a:xfrm>
            <a:off x="0" y="0"/>
            <a:ext cx="6858000" cy="9918192"/>
          </a:xfrm>
          <a:prstGeom prst="rect">
            <a:avLst/>
          </a:prstGeom>
          <a:gradFill flip="none" rotWithShape="1">
            <a:gsLst>
              <a:gs pos="0">
                <a:schemeClr val="tx1">
                  <a:alpha val="95000"/>
                </a:schemeClr>
              </a:gs>
              <a:gs pos="100000">
                <a:schemeClr val="accent6">
                  <a:alpha val="95000"/>
                </a:schemeClr>
              </a:gs>
            </a:gsLst>
            <a:lin ang="27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noProof="0" dirty="0">
              <a:solidFill>
                <a:schemeClr val="bg1"/>
              </a:solidFill>
            </a:endParaRPr>
          </a:p>
        </p:txBody>
      </p:sp>
      <p:sp>
        <p:nvSpPr>
          <p:cNvPr id="1038" name="Rectangle 1037">
            <a:extLst>
              <a:ext uri="{FF2B5EF4-FFF2-40B4-BE49-F238E27FC236}">
                <a16:creationId xmlns:a16="http://schemas.microsoft.com/office/drawing/2014/main" id="{3AA0F09E-8CD5-6807-79D1-A66E897C7BBD}"/>
              </a:ext>
            </a:extLst>
          </p:cNvPr>
          <p:cNvSpPr/>
          <p:nvPr/>
        </p:nvSpPr>
        <p:spPr>
          <a:xfrm>
            <a:off x="292608" y="292609"/>
            <a:ext cx="6272784" cy="613171"/>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pic>
        <p:nvPicPr>
          <p:cNvPr id="60" name="Picture 59" descr="Kukula Capital">
            <a:extLst>
              <a:ext uri="{FF2B5EF4-FFF2-40B4-BE49-F238E27FC236}">
                <a16:creationId xmlns:a16="http://schemas.microsoft.com/office/drawing/2014/main" id="{EAE14FC9-B929-8BEE-D671-582E36D9BA34}"/>
              </a:ext>
            </a:extLst>
          </p:cNvPr>
          <p:cNvPicPr>
            <a:picLocks noChangeAspect="1" noChangeArrowheads="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5183238" y="420406"/>
            <a:ext cx="1234212" cy="357576"/>
          </a:xfrm>
          <a:prstGeom prst="rect">
            <a:avLst/>
          </a:prstGeom>
          <a:noFill/>
          <a:extLst>
            <a:ext uri="{909E8E84-426E-40DD-AFC4-6F175D3DCCD1}">
              <a14:hiddenFill xmlns:a14="http://schemas.microsoft.com/office/drawing/2010/main">
                <a:solidFill>
                  <a:srgbClr val="FFFFFF"/>
                </a:solidFill>
              </a14:hiddenFill>
            </a:ext>
          </a:extLst>
        </p:spPr>
      </p:pic>
      <p:grpSp>
        <p:nvGrpSpPr>
          <p:cNvPr id="1031" name="Group 1030">
            <a:extLst>
              <a:ext uri="{FF2B5EF4-FFF2-40B4-BE49-F238E27FC236}">
                <a16:creationId xmlns:a16="http://schemas.microsoft.com/office/drawing/2014/main" id="{3D7D9478-AA93-8084-8BED-8FB551C77090}"/>
              </a:ext>
            </a:extLst>
          </p:cNvPr>
          <p:cNvGrpSpPr/>
          <p:nvPr/>
        </p:nvGrpSpPr>
        <p:grpSpPr>
          <a:xfrm>
            <a:off x="292608" y="348002"/>
            <a:ext cx="4364736" cy="502385"/>
            <a:chOff x="292608" y="157085"/>
            <a:chExt cx="4364736" cy="502385"/>
          </a:xfrm>
        </p:grpSpPr>
        <p:sp>
          <p:nvSpPr>
            <p:cNvPr id="61" name="TextBox 60">
              <a:extLst>
                <a:ext uri="{FF2B5EF4-FFF2-40B4-BE49-F238E27FC236}">
                  <a16:creationId xmlns:a16="http://schemas.microsoft.com/office/drawing/2014/main" id="{3E360A5B-C17E-37B0-5EF4-39C71FE4AF1A}"/>
                </a:ext>
              </a:extLst>
            </p:cNvPr>
            <p:cNvSpPr txBox="1"/>
            <p:nvPr/>
          </p:nvSpPr>
          <p:spPr>
            <a:xfrm>
              <a:off x="292608" y="157085"/>
              <a:ext cx="436473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keena" pitchFamily="2" charset="0"/>
                </a:rPr>
                <a:t>Kukula Global Growth Portfolio</a:t>
              </a:r>
              <a:endParaRPr kumimoji="0" lang="en-ZA" sz="1600" b="0" i="0" u="none" strike="noStrike" kern="1200" cap="none" spc="0" normalizeH="0" baseline="0" noProof="0" dirty="0">
                <a:ln>
                  <a:noFill/>
                </a:ln>
                <a:solidFill>
                  <a:prstClr val="white"/>
                </a:solidFill>
                <a:effectLst/>
                <a:uLnTx/>
                <a:uFillTx/>
                <a:latin typeface="Skeena" pitchFamily="2" charset="0"/>
              </a:endParaRPr>
            </a:p>
          </p:txBody>
        </p:sp>
        <p:sp>
          <p:nvSpPr>
            <p:cNvPr id="1024" name="DATE_ISSUED_2">
              <a:extLst>
                <a:ext uri="{FF2B5EF4-FFF2-40B4-BE49-F238E27FC236}">
                  <a16:creationId xmlns:a16="http://schemas.microsoft.com/office/drawing/2014/main" id="{51F57ADC-A945-6C43-7EA4-C14722602195}"/>
                </a:ext>
              </a:extLst>
            </p:cNvPr>
            <p:cNvSpPr txBox="1"/>
            <p:nvPr/>
          </p:nvSpPr>
          <p:spPr>
            <a:xfrm>
              <a:off x="292608" y="397860"/>
              <a:ext cx="4157472" cy="261610"/>
            </a:xfrm>
            <a:prstGeom prst="rect">
              <a:avLst/>
            </a:prstGeom>
            <a:noFill/>
          </p:spPr>
          <p:txBody>
            <a:bodyPr wrap="square" lIns="91440" tIns="45720" rIns="91440" bIns="45720" rtlCol="0" anchor="t">
              <a:spAutoFit/>
            </a:bodyPr>
            <a:lstStyle/>
            <a:p>
              <a:pPr>
                <a:defRPr/>
              </a:pPr>
              <a:r>
                <a:rPr kumimoji="0" lang="en-US" sz="1100" b="0" i="0" u="none" strike="noStrike" kern="1200" cap="none" spc="0" normalizeH="0" baseline="0" noProof="0" dirty="0">
                  <a:ln>
                    <a:noFill/>
                  </a:ln>
                  <a:solidFill>
                    <a:prstClr val="white"/>
                  </a:solidFill>
                  <a:effectLst/>
                  <a:uLnTx/>
                  <a:uFillTx/>
                  <a:latin typeface="+mj-lt"/>
                </a:rPr>
                <a:t>Fact </a:t>
              </a:r>
              <a:r>
                <a:rPr kumimoji="0" lang="en-US" sz="1100" b="0" i="0" u="none" strike="noStrike" kern="1200" cap="none" spc="0" normalizeH="0" baseline="0" noProof="0" dirty="0" err="1">
                  <a:ln>
                    <a:noFill/>
                  </a:ln>
                  <a:solidFill>
                    <a:prstClr val="white"/>
                  </a:solidFill>
                  <a:effectLst/>
                  <a:uLnTx/>
                  <a:uFillTx/>
                  <a:latin typeface="+mj-lt"/>
                </a:rPr>
                <a:t>Sheet|Issued</a:t>
              </a:r>
              <a:r>
                <a:rPr kumimoji="0" lang="en-US" sz="1100" b="0" i="0" u="none" strike="noStrike" kern="1200" cap="none" spc="0" normalizeH="0" baseline="0" noProof="0" dirty="0">
                  <a:ln>
                    <a:noFill/>
                  </a:ln>
                  <a:solidFill>
                    <a:prstClr val="white"/>
                  </a:solidFill>
                  <a:effectLst/>
                  <a:uLnTx/>
                  <a:uFillTx/>
                  <a:latin typeface="+mj-lt"/>
                </a:rPr>
                <a:t> 30</a:t>
              </a:r>
              <a:r>
                <a:rPr lang="en-US" sz="1100" dirty="0">
                  <a:solidFill>
                    <a:prstClr val="white"/>
                  </a:solidFill>
                  <a:latin typeface="+mj-lt"/>
                </a:rPr>
                <a:t> September </a:t>
              </a:r>
              <a:r>
                <a:rPr kumimoji="0" lang="en-US" sz="1100" b="0" i="0" u="none" strike="noStrike" kern="1200" cap="none" spc="0" normalizeH="0" baseline="0" noProof="0" dirty="0">
                  <a:ln>
                    <a:noFill/>
                  </a:ln>
                  <a:solidFill>
                    <a:prstClr val="white"/>
                  </a:solidFill>
                  <a:effectLst/>
                  <a:uLnTx/>
                  <a:uFillTx/>
                  <a:latin typeface="+mj-lt"/>
                </a:rPr>
                <a:t>2025</a:t>
              </a:r>
            </a:p>
          </p:txBody>
        </p:sp>
      </p:grpSp>
      <p:grpSp>
        <p:nvGrpSpPr>
          <p:cNvPr id="1028" name="Group 1027">
            <a:extLst>
              <a:ext uri="{FF2B5EF4-FFF2-40B4-BE49-F238E27FC236}">
                <a16:creationId xmlns:a16="http://schemas.microsoft.com/office/drawing/2014/main" id="{3DD59AF6-2EB5-BBDC-1946-56CB294B3107}"/>
              </a:ext>
            </a:extLst>
          </p:cNvPr>
          <p:cNvGrpSpPr/>
          <p:nvPr/>
        </p:nvGrpSpPr>
        <p:grpSpPr>
          <a:xfrm>
            <a:off x="557784" y="9657178"/>
            <a:ext cx="5742433" cy="200055"/>
            <a:chOff x="521207" y="9718138"/>
            <a:chExt cx="5742433" cy="200055"/>
          </a:xfrm>
        </p:grpSpPr>
        <p:sp>
          <p:nvSpPr>
            <p:cNvPr id="28" name="TextBox 27">
              <a:extLst>
                <a:ext uri="{FF2B5EF4-FFF2-40B4-BE49-F238E27FC236}">
                  <a16:creationId xmlns:a16="http://schemas.microsoft.com/office/drawing/2014/main" id="{B97B2B1B-BA91-F37A-E742-A01AA6A6DC42}"/>
                </a:ext>
              </a:extLst>
            </p:cNvPr>
            <p:cNvSpPr txBox="1"/>
            <p:nvPr/>
          </p:nvSpPr>
          <p:spPr>
            <a:xfrm>
              <a:off x="521207" y="9718138"/>
              <a:ext cx="5742433" cy="200055"/>
            </a:xfrm>
            <a:prstGeom prst="rect">
              <a:avLst/>
            </a:prstGeom>
            <a:noFill/>
          </p:spPr>
          <p:txBody>
            <a:bodyPr wrap="square" rtlCol="0">
              <a:spAutoFit/>
            </a:bodyPr>
            <a:lstStyle/>
            <a:p>
              <a:pPr algn="ctr"/>
              <a:r>
                <a:rPr lang="en-US" sz="700" dirty="0">
                  <a:solidFill>
                    <a:schemeClr val="bg1"/>
                  </a:solidFill>
                  <a:latin typeface="Helvetica" panose="020B0604020202020204" pitchFamily="34" charset="0"/>
                  <a:cs typeface="Helvetica" panose="020B0604020202020204" pitchFamily="34" charset="0"/>
                  <a:hlinkClick r:id="rId5">
                    <a:extLst>
                      <a:ext uri="{A12FA001-AC4F-418D-AE19-62706E023703}">
                        <ahyp:hlinkClr xmlns:ahyp="http://schemas.microsoft.com/office/drawing/2018/hyperlinkcolor" val="tx"/>
                      </a:ext>
                    </a:extLst>
                  </a:hlinkClick>
                </a:rPr>
                <a:t>assetmanagement@kukulacapital.com </a:t>
              </a:r>
              <a:r>
                <a:rPr lang="en-US" sz="700" dirty="0">
                  <a:solidFill>
                    <a:schemeClr val="bg1"/>
                  </a:solidFill>
                  <a:latin typeface="Helvetica" panose="020B0604020202020204" pitchFamily="34" charset="0"/>
                  <a:cs typeface="Helvetica" panose="020B0604020202020204" pitchFamily="34" charset="0"/>
                </a:rPr>
                <a:t>        </a:t>
              </a:r>
              <a:r>
                <a:rPr lang="en-US" sz="700" dirty="0">
                  <a:solidFill>
                    <a:schemeClr val="bg1"/>
                  </a:solidFill>
                  <a:latin typeface="Helvetica" panose="020B0604020202020204" pitchFamily="34" charset="0"/>
                  <a:cs typeface="Helvetica" panose="020B0604020202020204" pitchFamily="34" charset="0"/>
                  <a:hlinkClick r:id="rId6">
                    <a:extLst>
                      <a:ext uri="{A12FA001-AC4F-418D-AE19-62706E023703}">
                        <ahyp:hlinkClr xmlns:ahyp="http://schemas.microsoft.com/office/drawing/2018/hyperlinkcolor" val="tx"/>
                      </a:ext>
                    </a:extLst>
                  </a:hlinkClick>
                </a:rPr>
                <a:t>www.kukulacapital.com</a:t>
              </a:r>
              <a:r>
                <a:rPr lang="en-US" sz="700" dirty="0">
                  <a:solidFill>
                    <a:schemeClr val="bg1"/>
                  </a:solidFill>
                  <a:latin typeface="Helvetica" panose="020B0604020202020204" pitchFamily="34" charset="0"/>
                  <a:cs typeface="Helvetica" panose="020B0604020202020204" pitchFamily="34" charset="0"/>
                </a:rPr>
                <a:t>        </a:t>
              </a:r>
              <a:r>
                <a:rPr lang="en-ZA" sz="700" b="0" i="0" u="none" strike="noStrike" dirty="0">
                  <a:solidFill>
                    <a:schemeClr val="bg1"/>
                  </a:solidFill>
                  <a:effectLst/>
                  <a:latin typeface="Helvetica" panose="020B0604020202020204" pitchFamily="34" charset="0"/>
                  <a:cs typeface="Helvetica" panose="020B0604020202020204" pitchFamily="34" charset="0"/>
                  <a:hlinkClick r:id="rId7">
                    <a:extLst>
                      <a:ext uri="{A12FA001-AC4F-418D-AE19-62706E023703}">
                        <ahyp:hlinkClr xmlns:ahyp="http://schemas.microsoft.com/office/drawing/2018/hyperlinkcolor" val="tx"/>
                      </a:ext>
                    </a:extLst>
                  </a:hlinkClick>
                </a:rPr>
                <a:t>+260 954 715 547</a:t>
              </a:r>
              <a:endParaRPr lang="en-ZA" sz="700" dirty="0">
                <a:solidFill>
                  <a:schemeClr val="bg1"/>
                </a:solidFill>
                <a:latin typeface="Helvetica" panose="020B0604020202020204" pitchFamily="34" charset="0"/>
                <a:cs typeface="Helvetica" panose="020B0604020202020204" pitchFamily="34" charset="0"/>
              </a:endParaRPr>
            </a:p>
          </p:txBody>
        </p:sp>
        <p:pic>
          <p:nvPicPr>
            <p:cNvPr id="62" name="Graphic 61">
              <a:extLst>
                <a:ext uri="{FF2B5EF4-FFF2-40B4-BE49-F238E27FC236}">
                  <a16:creationId xmlns:a16="http://schemas.microsoft.com/office/drawing/2014/main" id="{2980813D-CD81-C5D4-8BD2-291F366C9C8D}"/>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407940" y="9746165"/>
              <a:ext cx="144000" cy="144000"/>
            </a:xfrm>
            <a:prstGeom prst="rect">
              <a:avLst/>
            </a:prstGeom>
          </p:spPr>
        </p:pic>
        <p:pic>
          <p:nvPicPr>
            <p:cNvPr id="1025" name="Graphic 1024">
              <a:extLst>
                <a:ext uri="{FF2B5EF4-FFF2-40B4-BE49-F238E27FC236}">
                  <a16:creationId xmlns:a16="http://schemas.microsoft.com/office/drawing/2014/main" id="{D4E92CE4-9E2D-8959-0803-502A3BE40143}"/>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168967" y="9746165"/>
              <a:ext cx="144000" cy="144000"/>
            </a:xfrm>
            <a:prstGeom prst="rect">
              <a:avLst/>
            </a:prstGeom>
          </p:spPr>
        </p:pic>
        <p:pic>
          <p:nvPicPr>
            <p:cNvPr id="1026" name="Graphic 1025">
              <a:extLst>
                <a:ext uri="{FF2B5EF4-FFF2-40B4-BE49-F238E27FC236}">
                  <a16:creationId xmlns:a16="http://schemas.microsoft.com/office/drawing/2014/main" id="{45A9599C-17B7-D351-6F19-AC0975E58EF8}"/>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92173" y="9746164"/>
              <a:ext cx="144000" cy="144000"/>
            </a:xfrm>
            <a:prstGeom prst="rect">
              <a:avLst/>
            </a:prstGeom>
          </p:spPr>
        </p:pic>
      </p:grpSp>
      <p:sp>
        <p:nvSpPr>
          <p:cNvPr id="1041" name="Rectangle 1040">
            <a:extLst>
              <a:ext uri="{FF2B5EF4-FFF2-40B4-BE49-F238E27FC236}">
                <a16:creationId xmlns:a16="http://schemas.microsoft.com/office/drawing/2014/main" id="{66535381-6AAA-A590-D2C9-0F970FA09C0E}"/>
              </a:ext>
            </a:extLst>
          </p:cNvPr>
          <p:cNvSpPr/>
          <p:nvPr/>
        </p:nvSpPr>
        <p:spPr>
          <a:xfrm>
            <a:off x="292608"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5" name="Rectangle 1044">
            <a:extLst>
              <a:ext uri="{FF2B5EF4-FFF2-40B4-BE49-F238E27FC236}">
                <a16:creationId xmlns:a16="http://schemas.microsoft.com/office/drawing/2014/main" id="{47D763D0-6FAD-8EE8-5747-014CE2FE63D1}"/>
              </a:ext>
            </a:extLst>
          </p:cNvPr>
          <p:cNvSpPr/>
          <p:nvPr/>
        </p:nvSpPr>
        <p:spPr>
          <a:xfrm>
            <a:off x="292608" y="8054295"/>
            <a:ext cx="6272784" cy="1571288"/>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sp>
        <p:nvSpPr>
          <p:cNvPr id="1046" name="Rectangle 1045">
            <a:extLst>
              <a:ext uri="{FF2B5EF4-FFF2-40B4-BE49-F238E27FC236}">
                <a16:creationId xmlns:a16="http://schemas.microsoft.com/office/drawing/2014/main" id="{240151D1-83A6-A968-8252-EFE1718B8892}"/>
              </a:ext>
            </a:extLst>
          </p:cNvPr>
          <p:cNvSpPr/>
          <p:nvPr/>
        </p:nvSpPr>
        <p:spPr>
          <a:xfrm>
            <a:off x="6565392" y="9625583"/>
            <a:ext cx="292608" cy="292609"/>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1200" dirty="0">
                <a:solidFill>
                  <a:schemeClr val="bg1"/>
                </a:solidFill>
              </a:rPr>
              <a:t>2</a:t>
            </a:r>
            <a:endParaRPr lang="en-GB" sz="1200" dirty="0">
              <a:solidFill>
                <a:schemeClr val="bg1"/>
              </a:solidFill>
            </a:endParaRPr>
          </a:p>
        </p:txBody>
      </p:sp>
      <p:sp>
        <p:nvSpPr>
          <p:cNvPr id="1048" name="Rectangle 1047">
            <a:extLst>
              <a:ext uri="{FF2B5EF4-FFF2-40B4-BE49-F238E27FC236}">
                <a16:creationId xmlns:a16="http://schemas.microsoft.com/office/drawing/2014/main" id="{5E3C658C-B662-59DF-3EA8-7451A48DEC92}"/>
              </a:ext>
            </a:extLst>
          </p:cNvPr>
          <p:cNvSpPr/>
          <p:nvPr/>
        </p:nvSpPr>
        <p:spPr>
          <a:xfrm>
            <a:off x="3483000" y="1013780"/>
            <a:ext cx="3082392" cy="6932515"/>
          </a:xfrm>
          <a:prstGeom prst="rect">
            <a:avLst/>
          </a:prstGeom>
          <a:solidFill>
            <a:schemeClr val="bg1">
              <a:alpha val="20000"/>
            </a:scheme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00000"/>
              </a:solidFill>
            </a:endParaRPr>
          </a:p>
        </p:txBody>
      </p:sp>
      <p:grpSp>
        <p:nvGrpSpPr>
          <p:cNvPr id="1087" name="Group 1086">
            <a:extLst>
              <a:ext uri="{FF2B5EF4-FFF2-40B4-BE49-F238E27FC236}">
                <a16:creationId xmlns:a16="http://schemas.microsoft.com/office/drawing/2014/main" id="{CFF97540-2FAA-CB80-9EE6-18FC939AD2A7}"/>
              </a:ext>
            </a:extLst>
          </p:cNvPr>
          <p:cNvGrpSpPr/>
          <p:nvPr/>
        </p:nvGrpSpPr>
        <p:grpSpPr>
          <a:xfrm>
            <a:off x="292608" y="1013780"/>
            <a:ext cx="3082392" cy="232459"/>
            <a:chOff x="292608" y="1013780"/>
            <a:chExt cx="3082392" cy="232459"/>
          </a:xfrm>
        </p:grpSpPr>
        <p:cxnSp>
          <p:nvCxnSpPr>
            <p:cNvPr id="1049" name="Straight Connector 1048">
              <a:extLst>
                <a:ext uri="{FF2B5EF4-FFF2-40B4-BE49-F238E27FC236}">
                  <a16:creationId xmlns:a16="http://schemas.microsoft.com/office/drawing/2014/main" id="{2AA1BD25-3799-3F95-0DE9-9F59A9A36D0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50" name="Rectangle 1049">
              <a:extLst>
                <a:ext uri="{FF2B5EF4-FFF2-40B4-BE49-F238E27FC236}">
                  <a16:creationId xmlns:a16="http://schemas.microsoft.com/office/drawing/2014/main" id="{7DE8908D-2D00-1C15-18BA-CBC986C795F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Distribution per sector</a:t>
              </a:r>
              <a:endParaRPr lang="en-GB" sz="1000" b="1" dirty="0">
                <a:solidFill>
                  <a:schemeClr val="bg1"/>
                </a:solidFill>
                <a:latin typeface="Bierstadt"/>
              </a:endParaRPr>
            </a:p>
          </p:txBody>
        </p:sp>
      </p:grpSp>
      <p:grpSp>
        <p:nvGrpSpPr>
          <p:cNvPr id="1117" name="Group 1116">
            <a:extLst>
              <a:ext uri="{FF2B5EF4-FFF2-40B4-BE49-F238E27FC236}">
                <a16:creationId xmlns:a16="http://schemas.microsoft.com/office/drawing/2014/main" id="{B2136F99-9273-3C06-2EAB-3252A341E5A3}"/>
              </a:ext>
            </a:extLst>
          </p:cNvPr>
          <p:cNvGrpSpPr/>
          <p:nvPr/>
        </p:nvGrpSpPr>
        <p:grpSpPr>
          <a:xfrm>
            <a:off x="3483000" y="1013780"/>
            <a:ext cx="3082392" cy="232459"/>
            <a:chOff x="292608" y="1013780"/>
            <a:chExt cx="3082392" cy="232459"/>
          </a:xfrm>
        </p:grpSpPr>
        <p:cxnSp>
          <p:nvCxnSpPr>
            <p:cNvPr id="1118" name="Straight Connector 1117">
              <a:extLst>
                <a:ext uri="{FF2B5EF4-FFF2-40B4-BE49-F238E27FC236}">
                  <a16:creationId xmlns:a16="http://schemas.microsoft.com/office/drawing/2014/main" id="{417D1884-0E28-3C02-8058-8055782D66C8}"/>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9" name="Rectangle 1118">
              <a:extLst>
                <a:ext uri="{FF2B5EF4-FFF2-40B4-BE49-F238E27FC236}">
                  <a16:creationId xmlns:a16="http://schemas.microsoft.com/office/drawing/2014/main" id="{C94E1CCC-1EB6-B73E-CDC7-DAD9477FC9F7}"/>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a:rPr>
                <a:t>Distrubution per region</a:t>
              </a:r>
              <a:endParaRPr lang="en-GB" sz="1000" b="1" dirty="0">
                <a:solidFill>
                  <a:schemeClr val="bg1"/>
                </a:solidFill>
                <a:latin typeface="Bierstadt"/>
              </a:endParaRPr>
            </a:p>
          </p:txBody>
        </p:sp>
      </p:grpSp>
      <p:grpSp>
        <p:nvGrpSpPr>
          <p:cNvPr id="4" name="Group 3">
            <a:extLst>
              <a:ext uri="{FF2B5EF4-FFF2-40B4-BE49-F238E27FC236}">
                <a16:creationId xmlns:a16="http://schemas.microsoft.com/office/drawing/2014/main" id="{AB4B8C69-4066-D9CE-BBBE-2CCB91AE5ED8}"/>
              </a:ext>
            </a:extLst>
          </p:cNvPr>
          <p:cNvGrpSpPr/>
          <p:nvPr/>
        </p:nvGrpSpPr>
        <p:grpSpPr>
          <a:xfrm>
            <a:off x="292608" y="8054295"/>
            <a:ext cx="6272784" cy="232459"/>
            <a:chOff x="292608" y="6853356"/>
            <a:chExt cx="6272784" cy="232459"/>
          </a:xfrm>
        </p:grpSpPr>
        <p:sp>
          <p:nvSpPr>
            <p:cNvPr id="2" name="Rectangle 1">
              <a:extLst>
                <a:ext uri="{FF2B5EF4-FFF2-40B4-BE49-F238E27FC236}">
                  <a16:creationId xmlns:a16="http://schemas.microsoft.com/office/drawing/2014/main" id="{C3028533-FFA0-8969-1B38-84E8E0A5D661}"/>
                </a:ext>
              </a:extLst>
            </p:cNvPr>
            <p:cNvSpPr/>
            <p:nvPr/>
          </p:nvSpPr>
          <p:spPr>
            <a:xfrm>
              <a:off x="292608" y="6853356"/>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da-DK" sz="1000" b="1" dirty="0">
                  <a:solidFill>
                    <a:schemeClr val="bg1"/>
                  </a:solidFill>
                  <a:latin typeface="Bierstadt" panose="020B0004020202020204" pitchFamily="34" charset="0"/>
                </a:rPr>
                <a:t>Disclaimer</a:t>
              </a:r>
            </a:p>
          </p:txBody>
        </p:sp>
        <p:cxnSp>
          <p:nvCxnSpPr>
            <p:cNvPr id="3" name="Straight Connector 2">
              <a:extLst>
                <a:ext uri="{FF2B5EF4-FFF2-40B4-BE49-F238E27FC236}">
                  <a16:creationId xmlns:a16="http://schemas.microsoft.com/office/drawing/2014/main" id="{D9F15FCC-4748-D4D1-90AA-0B77FBBD60A4}"/>
                </a:ext>
              </a:extLst>
            </p:cNvPr>
            <p:cNvCxnSpPr/>
            <p:nvPr/>
          </p:nvCxnSpPr>
          <p:spPr>
            <a:xfrm>
              <a:off x="292608" y="7085815"/>
              <a:ext cx="6272784"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099FCF1D-8887-3256-ED6F-1006081DF865}"/>
              </a:ext>
            </a:extLst>
          </p:cNvPr>
          <p:cNvSpPr txBox="1"/>
          <p:nvPr/>
        </p:nvSpPr>
        <p:spPr>
          <a:xfrm>
            <a:off x="292608" y="8286755"/>
            <a:ext cx="6272784" cy="1338828"/>
          </a:xfrm>
          <a:prstGeom prst="rect">
            <a:avLst/>
          </a:prstGeom>
          <a:noFill/>
        </p:spPr>
        <p:txBody>
          <a:bodyPr wrap="square" rtlCol="0">
            <a:spAutoFit/>
          </a:bodyPr>
          <a:lstStyle/>
          <a:p>
            <a:pPr algn="just"/>
            <a:r>
              <a:rPr lang="en-US" sz="900" b="0" i="0" u="none" strike="noStrike" baseline="0" dirty="0">
                <a:solidFill>
                  <a:schemeClr val="bg1"/>
                </a:solidFill>
                <a:latin typeface="Bierstadt" panose="020B0004020202020204" pitchFamily="34" charset="0"/>
                <a:cs typeface="Helvetica" panose="020B0604020202020204" pitchFamily="34" charset="0"/>
              </a:rPr>
              <a:t>This document should not be seen as an offer to purchase any specific product and is not to be construed as advice or guidance in any form whatsoever. Investors are encouraged to obtain independent professional investment and taxation advice before investing with or in any of Kukula’s Asset Management products. Kukula Capital reserves the right to close the portfolio to new investors and reopen certain portfolios</a:t>
            </a:r>
            <a:r>
              <a:rPr lang="en-US" sz="900" dirty="0">
                <a:solidFill>
                  <a:schemeClr val="bg1"/>
                </a:solidFill>
                <a:latin typeface="Bierstadt" panose="020B0004020202020204" pitchFamily="34" charset="0"/>
                <a:cs typeface="Helvetica" panose="020B0604020202020204" pitchFamily="34" charset="0"/>
              </a:rPr>
              <a:t> </a:t>
            </a:r>
            <a:r>
              <a:rPr lang="en-US" sz="900" b="0" i="0" u="none" strike="noStrike" baseline="0" dirty="0">
                <a:solidFill>
                  <a:schemeClr val="bg1"/>
                </a:solidFill>
                <a:latin typeface="Bierstadt" panose="020B0004020202020204" pitchFamily="34" charset="0"/>
                <a:cs typeface="Helvetica" panose="020B0604020202020204" pitchFamily="34" charset="0"/>
              </a:rPr>
              <a:t>from time to time in order to manage them more efficiently. Investments in foreign securities may include additional risks such as potential constraints on liquidity and repatriation </a:t>
            </a:r>
            <a:r>
              <a:rPr lang="en-ZA" sz="900" b="0" i="0" u="none" strike="noStrike" baseline="0" dirty="0">
                <a:solidFill>
                  <a:schemeClr val="bg1"/>
                </a:solidFill>
                <a:latin typeface="Bierstadt" panose="020B0004020202020204" pitchFamily="34" charset="0"/>
                <a:cs typeface="Helvetica" panose="020B0604020202020204" pitchFamily="34" charset="0"/>
              </a:rPr>
              <a:t>of funds, macroeconomic risk, political risk, foreign exchange risk, tax risk, settlement risk as well as potential limitations on the availability of market information. </a:t>
            </a:r>
            <a:r>
              <a:rPr lang="en-US" sz="900" b="0" i="0" u="none" strike="noStrike" baseline="0" dirty="0">
                <a:solidFill>
                  <a:schemeClr val="bg1"/>
                </a:solidFill>
                <a:latin typeface="Bierstadt" panose="020B0004020202020204" pitchFamily="34" charset="0"/>
                <a:cs typeface="Helvetica" panose="020B0604020202020204" pitchFamily="34" charset="0"/>
              </a:rPr>
              <a:t>Past performance is not an indication of future performance. </a:t>
            </a:r>
          </a:p>
          <a:p>
            <a:pPr algn="just"/>
            <a:endParaRPr lang="en-US" sz="900" dirty="0">
              <a:solidFill>
                <a:schemeClr val="bg1"/>
              </a:solidFill>
              <a:latin typeface="Bierstadt" panose="020B0004020202020204" pitchFamily="34" charset="0"/>
              <a:cs typeface="Helvetica" panose="020B0604020202020204" pitchFamily="34" charset="0"/>
            </a:endParaRPr>
          </a:p>
          <a:p>
            <a:pPr algn="just"/>
            <a:r>
              <a:rPr lang="en-US" sz="900" dirty="0">
                <a:solidFill>
                  <a:schemeClr val="bg1"/>
                </a:solidFill>
                <a:latin typeface="Bierstadt" panose="020B0004020202020204" pitchFamily="34" charset="0"/>
                <a:cs typeface="Helvetica" panose="020B0604020202020204" pitchFamily="34" charset="0"/>
              </a:rPr>
              <a:t>Kukula Capital is a Fund Manager regulated by the Securities and Exchange Commission of Zambia </a:t>
            </a:r>
          </a:p>
        </p:txBody>
      </p:sp>
      <p:grpSp>
        <p:nvGrpSpPr>
          <p:cNvPr id="12" name="Group 11">
            <a:extLst>
              <a:ext uri="{FF2B5EF4-FFF2-40B4-BE49-F238E27FC236}">
                <a16:creationId xmlns:a16="http://schemas.microsoft.com/office/drawing/2014/main" id="{EA26CCA3-2673-1AFB-06B3-C4434358EFD0}"/>
              </a:ext>
            </a:extLst>
          </p:cNvPr>
          <p:cNvGrpSpPr/>
          <p:nvPr/>
        </p:nvGrpSpPr>
        <p:grpSpPr>
          <a:xfrm>
            <a:off x="2393997" y="2543287"/>
            <a:ext cx="735748" cy="325575"/>
            <a:chOff x="2387480" y="2325829"/>
            <a:chExt cx="890255" cy="393946"/>
          </a:xfrm>
        </p:grpSpPr>
        <p:sp>
          <p:nvSpPr>
            <p:cNvPr id="10" name="Rectangle 9">
              <a:extLst>
                <a:ext uri="{FF2B5EF4-FFF2-40B4-BE49-F238E27FC236}">
                  <a16:creationId xmlns:a16="http://schemas.microsoft.com/office/drawing/2014/main" id="{2AE094CA-474D-B279-5ED1-A5109E8B9776}"/>
                </a:ext>
              </a:extLst>
            </p:cNvPr>
            <p:cNvSpPr/>
            <p:nvPr/>
          </p:nvSpPr>
          <p:spPr>
            <a:xfrm>
              <a:off x="2387480" y="2549361"/>
              <a:ext cx="890255" cy="170414"/>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echnology</a:t>
              </a:r>
              <a:endParaRPr lang="en-GB" sz="600" dirty="0">
                <a:solidFill>
                  <a:schemeClr val="bg1"/>
                </a:solidFill>
                <a:latin typeface="Bierstadt" panose="020B0004020202020204" pitchFamily="34" charset="0"/>
              </a:endParaRPr>
            </a:p>
          </p:txBody>
        </p:sp>
        <p:pic>
          <p:nvPicPr>
            <p:cNvPr id="11" name="Graphic 10">
              <a:extLst>
                <a:ext uri="{FF2B5EF4-FFF2-40B4-BE49-F238E27FC236}">
                  <a16:creationId xmlns:a16="http://schemas.microsoft.com/office/drawing/2014/main" id="{013EC465-3A3D-5632-C448-047BF928C021}"/>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720841" y="2325829"/>
              <a:ext cx="223532" cy="223532"/>
            </a:xfrm>
            <a:prstGeom prst="rect">
              <a:avLst/>
            </a:prstGeom>
          </p:spPr>
        </p:pic>
      </p:grpSp>
      <p:sp>
        <p:nvSpPr>
          <p:cNvPr id="14" name="Rectangle 13">
            <a:extLst>
              <a:ext uri="{FF2B5EF4-FFF2-40B4-BE49-F238E27FC236}">
                <a16:creationId xmlns:a16="http://schemas.microsoft.com/office/drawing/2014/main" id="{C83E3CF8-292A-D39F-1EEA-8C791AEB34B6}"/>
              </a:ext>
            </a:extLst>
          </p:cNvPr>
          <p:cNvSpPr/>
          <p:nvPr/>
        </p:nvSpPr>
        <p:spPr>
          <a:xfrm>
            <a:off x="1008626" y="3476575"/>
            <a:ext cx="80031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staples</a:t>
            </a:r>
            <a:endParaRPr lang="en-GB" sz="600" dirty="0">
              <a:solidFill>
                <a:schemeClr val="bg1"/>
              </a:solidFill>
              <a:latin typeface="Bierstadt" panose="020B0004020202020204" pitchFamily="34" charset="0"/>
            </a:endParaRPr>
          </a:p>
        </p:txBody>
      </p:sp>
      <p:pic>
        <p:nvPicPr>
          <p:cNvPr id="40" name="Graphic 39">
            <a:extLst>
              <a:ext uri="{FF2B5EF4-FFF2-40B4-BE49-F238E27FC236}">
                <a16:creationId xmlns:a16="http://schemas.microsoft.com/office/drawing/2014/main" id="{1A099470-3542-E97C-417C-3C9AA76149FA}"/>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1316417" y="3291837"/>
            <a:ext cx="184737" cy="184737"/>
          </a:xfrm>
          <a:prstGeom prst="rect">
            <a:avLst/>
          </a:prstGeom>
        </p:spPr>
      </p:pic>
      <p:sp>
        <p:nvSpPr>
          <p:cNvPr id="17" name="Rectangle 16">
            <a:extLst>
              <a:ext uri="{FF2B5EF4-FFF2-40B4-BE49-F238E27FC236}">
                <a16:creationId xmlns:a16="http://schemas.microsoft.com/office/drawing/2014/main" id="{72EC8E88-2904-9494-D729-847B8159229B}"/>
              </a:ext>
            </a:extLst>
          </p:cNvPr>
          <p:cNvSpPr/>
          <p:nvPr/>
        </p:nvSpPr>
        <p:spPr>
          <a:xfrm>
            <a:off x="353099" y="270003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Materials</a:t>
            </a:r>
            <a:endParaRPr lang="en-GB" sz="600" dirty="0">
              <a:solidFill>
                <a:schemeClr val="bg1"/>
              </a:solidFill>
              <a:latin typeface="Bierstadt" panose="020B0004020202020204" pitchFamily="34" charset="0"/>
            </a:endParaRPr>
          </a:p>
        </p:txBody>
      </p:sp>
      <p:pic>
        <p:nvPicPr>
          <p:cNvPr id="41" name="Graphic 40">
            <a:extLst>
              <a:ext uri="{FF2B5EF4-FFF2-40B4-BE49-F238E27FC236}">
                <a16:creationId xmlns:a16="http://schemas.microsoft.com/office/drawing/2014/main" id="{39234BC4-F8AD-3BFC-BEA9-9A918A0E608B}"/>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628604" y="2515293"/>
            <a:ext cx="184737" cy="184737"/>
          </a:xfrm>
          <a:prstGeom prst="rect">
            <a:avLst/>
          </a:prstGeom>
        </p:spPr>
      </p:pic>
      <p:grpSp>
        <p:nvGrpSpPr>
          <p:cNvPr id="43" name="Group 42">
            <a:extLst>
              <a:ext uri="{FF2B5EF4-FFF2-40B4-BE49-F238E27FC236}">
                <a16:creationId xmlns:a16="http://schemas.microsoft.com/office/drawing/2014/main" id="{7EF4A4B5-327E-213A-0A92-2A9077E3ECA7}"/>
              </a:ext>
            </a:extLst>
          </p:cNvPr>
          <p:cNvGrpSpPr/>
          <p:nvPr/>
        </p:nvGrpSpPr>
        <p:grpSpPr>
          <a:xfrm>
            <a:off x="314139" y="1934099"/>
            <a:ext cx="735749" cy="325575"/>
            <a:chOff x="405579" y="1934099"/>
            <a:chExt cx="735749" cy="325575"/>
          </a:xfrm>
        </p:grpSpPr>
        <p:sp>
          <p:nvSpPr>
            <p:cNvPr id="20" name="Rectangle 19">
              <a:extLst>
                <a:ext uri="{FF2B5EF4-FFF2-40B4-BE49-F238E27FC236}">
                  <a16:creationId xmlns:a16="http://schemas.microsoft.com/office/drawing/2014/main" id="{C430CF63-0430-AB16-D38F-57BD98609CA3}"/>
                </a:ext>
              </a:extLst>
            </p:cNvPr>
            <p:cNvSpPr/>
            <p:nvPr/>
          </p:nvSpPr>
          <p:spPr>
            <a:xfrm>
              <a:off x="405579" y="2118836"/>
              <a:ext cx="735749"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solidFill>
                  <a:latin typeface="Bierstadt" panose="020B0004020202020204" pitchFamily="34" charset="0"/>
                </a:rPr>
                <a:t>Financial services</a:t>
              </a:r>
              <a:endParaRPr lang="en-GB" sz="600" dirty="0">
                <a:solidFill>
                  <a:schemeClr val="bg1"/>
                </a:solidFill>
                <a:latin typeface="Bierstadt" panose="020B0004020202020204" pitchFamily="34" charset="0"/>
              </a:endParaRPr>
            </a:p>
          </p:txBody>
        </p:sp>
        <p:pic>
          <p:nvPicPr>
            <p:cNvPr id="42" name="Graphic 41">
              <a:extLst>
                <a:ext uri="{FF2B5EF4-FFF2-40B4-BE49-F238E27FC236}">
                  <a16:creationId xmlns:a16="http://schemas.microsoft.com/office/drawing/2014/main" id="{0774DE06-6ECB-63EB-ABE7-8520BE1F0C53}"/>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681085" y="1934099"/>
              <a:ext cx="184737" cy="184737"/>
            </a:xfrm>
            <a:prstGeom prst="rect">
              <a:avLst/>
            </a:prstGeom>
          </p:spPr>
        </p:pic>
      </p:grpSp>
      <p:sp>
        <p:nvSpPr>
          <p:cNvPr id="25" name="Rectangle 24">
            <a:extLst>
              <a:ext uri="{FF2B5EF4-FFF2-40B4-BE49-F238E27FC236}">
                <a16:creationId xmlns:a16="http://schemas.microsoft.com/office/drawing/2014/main" id="{220F02E8-61FC-9ABE-2D55-99A17C0C29F7}"/>
              </a:ext>
            </a:extLst>
          </p:cNvPr>
          <p:cNvSpPr/>
          <p:nvPr/>
        </p:nvSpPr>
        <p:spPr>
          <a:xfrm>
            <a:off x="690304" y="1716818"/>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Healthcare</a:t>
            </a:r>
            <a:endParaRPr lang="en-GB" sz="600" dirty="0">
              <a:solidFill>
                <a:schemeClr val="bg1"/>
              </a:solidFill>
              <a:latin typeface="Bierstadt" panose="020B0004020202020204" pitchFamily="34" charset="0"/>
            </a:endParaRPr>
          </a:p>
        </p:txBody>
      </p:sp>
      <p:pic>
        <p:nvPicPr>
          <p:cNvPr id="44" name="Graphic 43">
            <a:extLst>
              <a:ext uri="{FF2B5EF4-FFF2-40B4-BE49-F238E27FC236}">
                <a16:creationId xmlns:a16="http://schemas.microsoft.com/office/drawing/2014/main" id="{C0B4EA05-F62F-5EF7-3AE6-8D70CA2A6DEB}"/>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a:off x="965809" y="1532081"/>
            <a:ext cx="184737" cy="184737"/>
          </a:xfrm>
          <a:prstGeom prst="rect">
            <a:avLst/>
          </a:prstGeom>
        </p:spPr>
      </p:pic>
      <p:sp>
        <p:nvSpPr>
          <p:cNvPr id="29" name="Rectangle 28">
            <a:extLst>
              <a:ext uri="{FF2B5EF4-FFF2-40B4-BE49-F238E27FC236}">
                <a16:creationId xmlns:a16="http://schemas.microsoft.com/office/drawing/2014/main" id="{E66AF298-75C9-C2BC-ED2A-4C925FD60E1A}"/>
              </a:ext>
            </a:extLst>
          </p:cNvPr>
          <p:cNvSpPr/>
          <p:nvPr/>
        </p:nvSpPr>
        <p:spPr>
          <a:xfrm>
            <a:off x="1040913" y="150957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Utilities</a:t>
            </a:r>
            <a:endParaRPr lang="en-GB" sz="600" dirty="0">
              <a:solidFill>
                <a:schemeClr val="bg1"/>
              </a:solidFill>
              <a:latin typeface="Bierstadt" panose="020B0004020202020204" pitchFamily="34" charset="0"/>
            </a:endParaRPr>
          </a:p>
        </p:txBody>
      </p:sp>
      <p:pic>
        <p:nvPicPr>
          <p:cNvPr id="46" name="Graphic 45">
            <a:extLst>
              <a:ext uri="{FF2B5EF4-FFF2-40B4-BE49-F238E27FC236}">
                <a16:creationId xmlns:a16="http://schemas.microsoft.com/office/drawing/2014/main" id="{4203E42F-EE76-D8C5-2ADD-589AA92D7668}"/>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1316418" y="1324842"/>
            <a:ext cx="184737" cy="184737"/>
          </a:xfrm>
          <a:prstGeom prst="rect">
            <a:avLst/>
          </a:prstGeom>
        </p:spPr>
      </p:pic>
      <p:sp>
        <p:nvSpPr>
          <p:cNvPr id="32" name="Rectangle 31">
            <a:extLst>
              <a:ext uri="{FF2B5EF4-FFF2-40B4-BE49-F238E27FC236}">
                <a16:creationId xmlns:a16="http://schemas.microsoft.com/office/drawing/2014/main" id="{C8B6BF94-46A7-2023-C325-E3D166F5E203}"/>
              </a:ext>
            </a:extLst>
          </p:cNvPr>
          <p:cNvSpPr/>
          <p:nvPr/>
        </p:nvSpPr>
        <p:spPr>
          <a:xfrm>
            <a:off x="1444517" y="1477509"/>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47" name="Graphic 46">
            <a:extLst>
              <a:ext uri="{FF2B5EF4-FFF2-40B4-BE49-F238E27FC236}">
                <a16:creationId xmlns:a16="http://schemas.microsoft.com/office/drawing/2014/main" id="{B7CB9195-F8E2-043A-D295-449E46E3EBB9}"/>
              </a:ext>
            </a:extLst>
          </p:cNvPr>
          <p:cNvPicPr>
            <a:picLocks/>
          </p:cNvPicPr>
          <p:nvPr/>
        </p:nvPicPr>
        <p:blipFill>
          <a:blip r:embed="rId26">
            <a:extLst>
              <a:ext uri="{96DAC541-7B7A-43D3-8B79-37D633B846F1}">
                <asvg:svgBlip xmlns:asvg="http://schemas.microsoft.com/office/drawing/2016/SVG/main" r:embed="rId27"/>
              </a:ext>
            </a:extLst>
          </a:blip>
          <a:stretch>
            <a:fillRect/>
          </a:stretch>
        </p:blipFill>
        <p:spPr>
          <a:xfrm>
            <a:off x="1720022" y="1292772"/>
            <a:ext cx="184737" cy="184737"/>
          </a:xfrm>
          <a:prstGeom prst="rect">
            <a:avLst/>
          </a:prstGeom>
        </p:spPr>
      </p:pic>
      <p:sp>
        <p:nvSpPr>
          <p:cNvPr id="35" name="Rectangle 34">
            <a:extLst>
              <a:ext uri="{FF2B5EF4-FFF2-40B4-BE49-F238E27FC236}">
                <a16:creationId xmlns:a16="http://schemas.microsoft.com/office/drawing/2014/main" id="{419AAB4D-B941-7415-902C-E1485893A00D}"/>
              </a:ext>
            </a:extLst>
          </p:cNvPr>
          <p:cNvSpPr/>
          <p:nvPr/>
        </p:nvSpPr>
        <p:spPr>
          <a:xfrm>
            <a:off x="1841231" y="1550270"/>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Transportation</a:t>
            </a:r>
            <a:endParaRPr lang="en-GB" sz="600" dirty="0">
              <a:solidFill>
                <a:schemeClr val="bg1"/>
              </a:solidFill>
              <a:latin typeface="Bierstadt" panose="020B0004020202020204" pitchFamily="34" charset="0"/>
            </a:endParaRPr>
          </a:p>
        </p:txBody>
      </p:sp>
      <p:pic>
        <p:nvPicPr>
          <p:cNvPr id="48" name="Graphic 47">
            <a:extLst>
              <a:ext uri="{FF2B5EF4-FFF2-40B4-BE49-F238E27FC236}">
                <a16:creationId xmlns:a16="http://schemas.microsoft.com/office/drawing/2014/main" id="{BDAFF7B7-207D-4703-3CE0-069C0B3A5B25}"/>
              </a:ext>
            </a:extLst>
          </p:cNvPr>
          <p:cNvPicPr>
            <a:picLocks/>
          </p:cNvPicPr>
          <p:nvPr/>
        </p:nvPicPr>
        <p:blipFill>
          <a:blip r:embed="rId28">
            <a:extLst>
              <a:ext uri="{96DAC541-7B7A-43D3-8B79-37D633B846F1}">
                <asvg:svgBlip xmlns:asvg="http://schemas.microsoft.com/office/drawing/2016/SVG/main" r:embed="rId29"/>
              </a:ext>
            </a:extLst>
          </a:blip>
          <a:stretch>
            <a:fillRect/>
          </a:stretch>
        </p:blipFill>
        <p:spPr>
          <a:xfrm>
            <a:off x="2116736" y="1365533"/>
            <a:ext cx="184737" cy="184737"/>
          </a:xfrm>
          <a:prstGeom prst="rect">
            <a:avLst/>
          </a:prstGeom>
        </p:spPr>
      </p:pic>
      <p:sp>
        <p:nvSpPr>
          <p:cNvPr id="38" name="Rectangle 37">
            <a:extLst>
              <a:ext uri="{FF2B5EF4-FFF2-40B4-BE49-F238E27FC236}">
                <a16:creationId xmlns:a16="http://schemas.microsoft.com/office/drawing/2014/main" id="{EA112802-2A42-169C-131E-DBF1F5A1882B}"/>
              </a:ext>
            </a:extLst>
          </p:cNvPr>
          <p:cNvSpPr/>
          <p:nvPr/>
        </p:nvSpPr>
        <p:spPr>
          <a:xfrm>
            <a:off x="2242320" y="1750827"/>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onsumer discretionary</a:t>
            </a:r>
            <a:endParaRPr lang="en-GB" sz="600" dirty="0">
              <a:solidFill>
                <a:schemeClr val="bg1"/>
              </a:solidFill>
              <a:latin typeface="Bierstadt" panose="020B0004020202020204" pitchFamily="34" charset="0"/>
            </a:endParaRPr>
          </a:p>
        </p:txBody>
      </p:sp>
      <p:pic>
        <p:nvPicPr>
          <p:cNvPr id="49" name="Graphic 48">
            <a:extLst>
              <a:ext uri="{FF2B5EF4-FFF2-40B4-BE49-F238E27FC236}">
                <a16:creationId xmlns:a16="http://schemas.microsoft.com/office/drawing/2014/main" id="{A8E15041-4912-B3D8-0150-F4D6E30D422C}"/>
              </a:ext>
            </a:extLst>
          </p:cNvPr>
          <p:cNvPicPr>
            <a:picLocks/>
          </p:cNvPicPr>
          <p:nvPr/>
        </p:nvPicPr>
        <p:blipFill>
          <a:blip r:embed="rId30">
            <a:extLst>
              <a:ext uri="{96DAC541-7B7A-43D3-8B79-37D633B846F1}">
                <asvg:svgBlip xmlns:asvg="http://schemas.microsoft.com/office/drawing/2016/SVG/main" r:embed="rId31"/>
              </a:ext>
            </a:extLst>
          </a:blip>
          <a:stretch>
            <a:fillRect/>
          </a:stretch>
        </p:blipFill>
        <p:spPr>
          <a:xfrm>
            <a:off x="2517825" y="1550850"/>
            <a:ext cx="184737" cy="184737"/>
          </a:xfrm>
          <a:prstGeom prst="rect">
            <a:avLst/>
          </a:prstGeom>
        </p:spPr>
      </p:pic>
      <p:sp>
        <p:nvSpPr>
          <p:cNvPr id="55" name="Rectangle 54">
            <a:extLst>
              <a:ext uri="{FF2B5EF4-FFF2-40B4-BE49-F238E27FC236}">
                <a16:creationId xmlns:a16="http://schemas.microsoft.com/office/drawing/2014/main" id="{740F6A28-57EB-1294-4ACF-DC51AE132108}"/>
              </a:ext>
            </a:extLst>
          </p:cNvPr>
          <p:cNvSpPr/>
          <p:nvPr/>
        </p:nvSpPr>
        <p:spPr>
          <a:xfrm>
            <a:off x="5073650" y="1661181"/>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Europe</a:t>
            </a:r>
            <a:endParaRPr lang="en-GB" sz="600" dirty="0">
              <a:solidFill>
                <a:schemeClr val="bg1"/>
              </a:solidFill>
              <a:latin typeface="Bierstadt" panose="020B0004020202020204" pitchFamily="34" charset="0"/>
            </a:endParaRPr>
          </a:p>
        </p:txBody>
      </p:sp>
      <p:pic>
        <p:nvPicPr>
          <p:cNvPr id="57" name="Graphic 56">
            <a:extLst>
              <a:ext uri="{FF2B5EF4-FFF2-40B4-BE49-F238E27FC236}">
                <a16:creationId xmlns:a16="http://schemas.microsoft.com/office/drawing/2014/main" id="{FDDA8EE5-2B07-55E1-BF0F-20D8DDAFFA87}"/>
              </a:ext>
            </a:extLst>
          </p:cNvPr>
          <p:cNvPicPr>
            <a:picLocks/>
          </p:cNvPicPr>
          <p:nvPr/>
        </p:nvPicPr>
        <p:blipFill>
          <a:blip r:embed="rId32">
            <a:extLst>
              <a:ext uri="{96DAC541-7B7A-43D3-8B79-37D633B846F1}">
                <asvg:svgBlip xmlns:asvg="http://schemas.microsoft.com/office/drawing/2016/SVG/main" r:embed="rId33"/>
              </a:ext>
            </a:extLst>
          </a:blip>
          <a:stretch>
            <a:fillRect/>
          </a:stretch>
        </p:blipFill>
        <p:spPr>
          <a:xfrm>
            <a:off x="5349154" y="1476444"/>
            <a:ext cx="184737" cy="184737"/>
          </a:xfrm>
          <a:prstGeom prst="rect">
            <a:avLst/>
          </a:prstGeom>
        </p:spPr>
      </p:pic>
      <p:grpSp>
        <p:nvGrpSpPr>
          <p:cNvPr id="1030" name="Group 1029">
            <a:extLst>
              <a:ext uri="{FF2B5EF4-FFF2-40B4-BE49-F238E27FC236}">
                <a16:creationId xmlns:a16="http://schemas.microsoft.com/office/drawing/2014/main" id="{A8340488-64B7-353C-A4FA-EB2260E5A373}"/>
              </a:ext>
            </a:extLst>
          </p:cNvPr>
          <p:cNvGrpSpPr/>
          <p:nvPr/>
        </p:nvGrpSpPr>
        <p:grpSpPr>
          <a:xfrm>
            <a:off x="5358370" y="3243826"/>
            <a:ext cx="735748" cy="325575"/>
            <a:chOff x="5358370" y="3243826"/>
            <a:chExt cx="735748" cy="325575"/>
          </a:xfrm>
        </p:grpSpPr>
        <p:sp>
          <p:nvSpPr>
            <p:cNvPr id="63" name="Rectangle 62">
              <a:extLst>
                <a:ext uri="{FF2B5EF4-FFF2-40B4-BE49-F238E27FC236}">
                  <a16:creationId xmlns:a16="http://schemas.microsoft.com/office/drawing/2014/main" id="{D482A90D-6D02-1D17-FA7C-5DE0F2E90558}"/>
                </a:ext>
              </a:extLst>
            </p:cNvPr>
            <p:cNvSpPr/>
            <p:nvPr/>
          </p:nvSpPr>
          <p:spPr>
            <a:xfrm>
              <a:off x="5358370" y="3428563"/>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North America</a:t>
              </a:r>
              <a:endParaRPr lang="en-GB" sz="600" dirty="0">
                <a:solidFill>
                  <a:schemeClr val="bg1"/>
                </a:solidFill>
                <a:latin typeface="Bierstadt" panose="020B0004020202020204" pitchFamily="34" charset="0"/>
              </a:endParaRPr>
            </a:p>
          </p:txBody>
        </p:sp>
        <p:pic>
          <p:nvPicPr>
            <p:cNvPr id="1029" name="Graphic 1028">
              <a:extLst>
                <a:ext uri="{FF2B5EF4-FFF2-40B4-BE49-F238E27FC236}">
                  <a16:creationId xmlns:a16="http://schemas.microsoft.com/office/drawing/2014/main" id="{E2B42250-64A3-D359-636C-59A0C70156BE}"/>
                </a:ext>
              </a:extLst>
            </p:cNvPr>
            <p:cNvPicPr>
              <a:picLocks/>
            </p:cNvPicPr>
            <p:nvPr/>
          </p:nvPicPr>
          <p:blipFill>
            <a:blip r:embed="rId34">
              <a:extLst>
                <a:ext uri="{96DAC541-7B7A-43D3-8B79-37D633B846F1}">
                  <asvg:svgBlip xmlns:asvg="http://schemas.microsoft.com/office/drawing/2016/SVG/main" r:embed="rId35"/>
                </a:ext>
              </a:extLst>
            </a:blip>
            <a:stretch>
              <a:fillRect/>
            </a:stretch>
          </p:blipFill>
          <p:spPr>
            <a:xfrm>
              <a:off x="5633874" y="3243826"/>
              <a:ext cx="184737" cy="184737"/>
            </a:xfrm>
            <a:prstGeom prst="rect">
              <a:avLst/>
            </a:prstGeom>
          </p:spPr>
        </p:pic>
      </p:grpSp>
      <p:grpSp>
        <p:nvGrpSpPr>
          <p:cNvPr id="1052" name="Group 1051">
            <a:extLst>
              <a:ext uri="{FF2B5EF4-FFF2-40B4-BE49-F238E27FC236}">
                <a16:creationId xmlns:a16="http://schemas.microsoft.com/office/drawing/2014/main" id="{78763AB0-C349-B79C-A03F-AB6515B09F9E}"/>
              </a:ext>
            </a:extLst>
          </p:cNvPr>
          <p:cNvGrpSpPr/>
          <p:nvPr/>
        </p:nvGrpSpPr>
        <p:grpSpPr>
          <a:xfrm>
            <a:off x="3849920" y="1676988"/>
            <a:ext cx="735748" cy="325575"/>
            <a:chOff x="3849920" y="1676988"/>
            <a:chExt cx="735748" cy="325575"/>
          </a:xfrm>
        </p:grpSpPr>
        <p:sp>
          <p:nvSpPr>
            <p:cNvPr id="1040" name="Rectangle 1039">
              <a:extLst>
                <a:ext uri="{FF2B5EF4-FFF2-40B4-BE49-F238E27FC236}">
                  <a16:creationId xmlns:a16="http://schemas.microsoft.com/office/drawing/2014/main" id="{8140B58C-FFE8-09D7-3025-F54F241DEC50}"/>
                </a:ext>
              </a:extLst>
            </p:cNvPr>
            <p:cNvSpPr/>
            <p:nvPr/>
          </p:nvSpPr>
          <p:spPr>
            <a:xfrm>
              <a:off x="3849920" y="186172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frica</a:t>
              </a:r>
              <a:endParaRPr lang="en-GB" sz="600" dirty="0">
                <a:solidFill>
                  <a:schemeClr val="bg1"/>
                </a:solidFill>
                <a:latin typeface="Bierstadt" panose="020B0004020202020204" pitchFamily="34" charset="0"/>
              </a:endParaRPr>
            </a:p>
          </p:txBody>
        </p:sp>
        <p:pic>
          <p:nvPicPr>
            <p:cNvPr id="1047" name="Graphic 1046">
              <a:extLst>
                <a:ext uri="{FF2B5EF4-FFF2-40B4-BE49-F238E27FC236}">
                  <a16:creationId xmlns:a16="http://schemas.microsoft.com/office/drawing/2014/main" id="{E6C27167-7703-52AC-C12E-EF8DF5777C68}"/>
                </a:ext>
              </a:extLst>
            </p:cNvPr>
            <p:cNvPicPr>
              <a:picLocks/>
            </p:cNvPicPr>
            <p:nvPr/>
          </p:nvPicPr>
          <p:blipFill>
            <a:blip r:embed="rId36">
              <a:extLst>
                <a:ext uri="{96DAC541-7B7A-43D3-8B79-37D633B846F1}">
                  <asvg:svgBlip xmlns:asvg="http://schemas.microsoft.com/office/drawing/2016/SVG/main" r:embed="rId37"/>
                </a:ext>
              </a:extLst>
            </a:blip>
            <a:stretch>
              <a:fillRect/>
            </a:stretch>
          </p:blipFill>
          <p:spPr>
            <a:xfrm>
              <a:off x="4125424" y="1676988"/>
              <a:ext cx="184737" cy="184737"/>
            </a:xfrm>
            <a:prstGeom prst="rect">
              <a:avLst/>
            </a:prstGeom>
          </p:spPr>
        </p:pic>
      </p:grpSp>
      <p:sp>
        <p:nvSpPr>
          <p:cNvPr id="1054" name="Rectangle 1053">
            <a:extLst>
              <a:ext uri="{FF2B5EF4-FFF2-40B4-BE49-F238E27FC236}">
                <a16:creationId xmlns:a16="http://schemas.microsoft.com/office/drawing/2014/main" id="{E670BFE6-5EAD-AD52-40EE-C97CB4030485}"/>
              </a:ext>
            </a:extLst>
          </p:cNvPr>
          <p:cNvSpPr/>
          <p:nvPr/>
        </p:nvSpPr>
        <p:spPr>
          <a:xfrm>
            <a:off x="4246187" y="1632115"/>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Asia</a:t>
            </a:r>
            <a:endParaRPr lang="en-GB" sz="600" dirty="0">
              <a:solidFill>
                <a:schemeClr val="bg1"/>
              </a:solidFill>
              <a:latin typeface="Bierstadt" panose="020B0004020202020204" pitchFamily="34" charset="0"/>
            </a:endParaRPr>
          </a:p>
        </p:txBody>
      </p:sp>
      <p:pic>
        <p:nvPicPr>
          <p:cNvPr id="1056" name="Graphic 1055">
            <a:extLst>
              <a:ext uri="{FF2B5EF4-FFF2-40B4-BE49-F238E27FC236}">
                <a16:creationId xmlns:a16="http://schemas.microsoft.com/office/drawing/2014/main" id="{C5A91157-E375-7D55-19B6-5C6117A61521}"/>
              </a:ext>
            </a:extLst>
          </p:cNvPr>
          <p:cNvPicPr>
            <a:picLocks/>
          </p:cNvPicPr>
          <p:nvPr/>
        </p:nvPicPr>
        <p:blipFill>
          <a:blip r:embed="rId38">
            <a:extLst>
              <a:ext uri="{96DAC541-7B7A-43D3-8B79-37D633B846F1}">
                <asvg:svgBlip xmlns:asvg="http://schemas.microsoft.com/office/drawing/2016/SVG/main" r:embed="rId39"/>
              </a:ext>
            </a:extLst>
          </a:blip>
          <a:stretch>
            <a:fillRect/>
          </a:stretch>
        </p:blipFill>
        <p:spPr>
          <a:xfrm>
            <a:off x="4521691" y="1447378"/>
            <a:ext cx="184737" cy="184737"/>
          </a:xfrm>
          <a:prstGeom prst="rect">
            <a:avLst/>
          </a:prstGeom>
        </p:spPr>
      </p:pic>
      <p:grpSp>
        <p:nvGrpSpPr>
          <p:cNvPr id="1060" name="Group 1059">
            <a:extLst>
              <a:ext uri="{FF2B5EF4-FFF2-40B4-BE49-F238E27FC236}">
                <a16:creationId xmlns:a16="http://schemas.microsoft.com/office/drawing/2014/main" id="{31DEC152-21BC-7FC7-95A1-E0E2AEA6116E}"/>
              </a:ext>
            </a:extLst>
          </p:cNvPr>
          <p:cNvGrpSpPr/>
          <p:nvPr/>
        </p:nvGrpSpPr>
        <p:grpSpPr>
          <a:xfrm>
            <a:off x="4625791" y="1431219"/>
            <a:ext cx="735748" cy="325575"/>
            <a:chOff x="4677380" y="1385489"/>
            <a:chExt cx="735748" cy="325575"/>
          </a:xfrm>
        </p:grpSpPr>
        <p:sp>
          <p:nvSpPr>
            <p:cNvPr id="1058" name="Rectangle 1057">
              <a:extLst>
                <a:ext uri="{FF2B5EF4-FFF2-40B4-BE49-F238E27FC236}">
                  <a16:creationId xmlns:a16="http://schemas.microsoft.com/office/drawing/2014/main" id="{02792C57-F4BB-6B65-0A94-5602A2656D53}"/>
                </a:ext>
              </a:extLst>
            </p:cNvPr>
            <p:cNvSpPr/>
            <p:nvPr/>
          </p:nvSpPr>
          <p:spPr>
            <a:xfrm>
              <a:off x="4677380" y="1570226"/>
              <a:ext cx="735748" cy="140838"/>
            </a:xfrm>
            <a:prstGeom prst="rect">
              <a:avLst/>
            </a:prstGeom>
            <a:no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latin typeface="Bierstadt" panose="020B0004020202020204" pitchFamily="34" charset="0"/>
                </a:rPr>
                <a:t>Cash</a:t>
              </a:r>
              <a:endParaRPr lang="en-GB" sz="600" dirty="0">
                <a:solidFill>
                  <a:schemeClr val="bg1"/>
                </a:solidFill>
                <a:latin typeface="Bierstadt" panose="020B0004020202020204" pitchFamily="34" charset="0"/>
              </a:endParaRPr>
            </a:p>
          </p:txBody>
        </p:sp>
        <p:pic>
          <p:nvPicPr>
            <p:cNvPr id="1057" name="Graphic 1056">
              <a:extLst>
                <a:ext uri="{FF2B5EF4-FFF2-40B4-BE49-F238E27FC236}">
                  <a16:creationId xmlns:a16="http://schemas.microsoft.com/office/drawing/2014/main" id="{1C0A7E55-3B59-5424-BAE3-4C1FBA0A7141}"/>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4952884" y="1385489"/>
              <a:ext cx="184737" cy="184737"/>
            </a:xfrm>
            <a:prstGeom prst="rect">
              <a:avLst/>
            </a:prstGeom>
          </p:spPr>
        </p:pic>
      </p:grpSp>
      <p:grpSp>
        <p:nvGrpSpPr>
          <p:cNvPr id="1061" name="Group 1060">
            <a:extLst>
              <a:ext uri="{FF2B5EF4-FFF2-40B4-BE49-F238E27FC236}">
                <a16:creationId xmlns:a16="http://schemas.microsoft.com/office/drawing/2014/main" id="{A6015B47-B30C-5FD6-A378-0F254AC0BA3C}"/>
              </a:ext>
            </a:extLst>
          </p:cNvPr>
          <p:cNvGrpSpPr/>
          <p:nvPr/>
        </p:nvGrpSpPr>
        <p:grpSpPr>
          <a:xfrm>
            <a:off x="292608" y="3645819"/>
            <a:ext cx="3082392" cy="232459"/>
            <a:chOff x="292608" y="1013780"/>
            <a:chExt cx="3082392" cy="232459"/>
          </a:xfrm>
        </p:grpSpPr>
        <p:cxnSp>
          <p:nvCxnSpPr>
            <p:cNvPr id="1062" name="Straight Connector 1061">
              <a:extLst>
                <a:ext uri="{FF2B5EF4-FFF2-40B4-BE49-F238E27FC236}">
                  <a16:creationId xmlns:a16="http://schemas.microsoft.com/office/drawing/2014/main" id="{E9CCCF08-08C8-EE98-C7A9-80C44E445D69}"/>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6" name="COMMENTARY_HEADER">
              <a:extLst>
                <a:ext uri="{FF2B5EF4-FFF2-40B4-BE49-F238E27FC236}">
                  <a16:creationId xmlns:a16="http://schemas.microsoft.com/office/drawing/2014/main" id="{91E72E01-23BD-F919-ED88-608D6E5189CB}"/>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Manager’s commentary and outlook</a:t>
              </a:r>
              <a:endParaRPr lang="en-GB" sz="1000" b="1" dirty="0">
                <a:solidFill>
                  <a:schemeClr val="bg1"/>
                </a:solidFill>
                <a:latin typeface="Bierstadt"/>
              </a:endParaRPr>
            </a:p>
          </p:txBody>
        </p:sp>
      </p:grpSp>
      <p:grpSp>
        <p:nvGrpSpPr>
          <p:cNvPr id="1077" name="Group 1076">
            <a:extLst>
              <a:ext uri="{FF2B5EF4-FFF2-40B4-BE49-F238E27FC236}">
                <a16:creationId xmlns:a16="http://schemas.microsoft.com/office/drawing/2014/main" id="{63B74288-F5DE-C540-D92A-62BFE1FE6B0E}"/>
              </a:ext>
            </a:extLst>
          </p:cNvPr>
          <p:cNvGrpSpPr/>
          <p:nvPr/>
        </p:nvGrpSpPr>
        <p:grpSpPr>
          <a:xfrm>
            <a:off x="3483000" y="3645819"/>
            <a:ext cx="3082392" cy="232459"/>
            <a:chOff x="292608" y="1013780"/>
            <a:chExt cx="3082392" cy="232459"/>
          </a:xfrm>
        </p:grpSpPr>
        <p:cxnSp>
          <p:nvCxnSpPr>
            <p:cNvPr id="1078" name="Straight Connector 1077">
              <a:extLst>
                <a:ext uri="{FF2B5EF4-FFF2-40B4-BE49-F238E27FC236}">
                  <a16:creationId xmlns:a16="http://schemas.microsoft.com/office/drawing/2014/main" id="{36B6E2A3-6B9B-7AEB-B920-3CE8677854C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9" name="Rectangle 1078">
              <a:extLst>
                <a:ext uri="{FF2B5EF4-FFF2-40B4-BE49-F238E27FC236}">
                  <a16:creationId xmlns:a16="http://schemas.microsoft.com/office/drawing/2014/main" id="{AD98B1AA-B101-E926-80DD-6DFD60DE89D2}"/>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Fee details</a:t>
              </a:r>
              <a:endParaRPr lang="en-GB" sz="1000" b="1" dirty="0">
                <a:solidFill>
                  <a:schemeClr val="bg1"/>
                </a:solidFill>
                <a:latin typeface="Bierstadt"/>
              </a:endParaRPr>
            </a:p>
          </p:txBody>
        </p:sp>
      </p:grpSp>
      <p:sp>
        <p:nvSpPr>
          <p:cNvPr id="1080" name="COMMENTARY_TEXT">
            <a:extLst>
              <a:ext uri="{FF2B5EF4-FFF2-40B4-BE49-F238E27FC236}">
                <a16:creationId xmlns:a16="http://schemas.microsoft.com/office/drawing/2014/main" id="{323259A2-7335-3BC8-826B-B1452ECF431C}"/>
              </a:ext>
            </a:extLst>
          </p:cNvPr>
          <p:cNvSpPr txBox="1"/>
          <p:nvPr/>
        </p:nvSpPr>
        <p:spPr>
          <a:xfrm>
            <a:off x="292607" y="3878278"/>
            <a:ext cx="3082392" cy="327960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 </a:t>
            </a:r>
          </a:p>
        </p:txBody>
      </p:sp>
      <p:grpSp>
        <p:nvGrpSpPr>
          <p:cNvPr id="1082" name="Group 1081">
            <a:extLst>
              <a:ext uri="{FF2B5EF4-FFF2-40B4-BE49-F238E27FC236}">
                <a16:creationId xmlns:a16="http://schemas.microsoft.com/office/drawing/2014/main" id="{16F62F2C-8EDD-7F9A-6CCB-82CC6BC3FC03}"/>
              </a:ext>
            </a:extLst>
          </p:cNvPr>
          <p:cNvGrpSpPr/>
          <p:nvPr/>
        </p:nvGrpSpPr>
        <p:grpSpPr>
          <a:xfrm>
            <a:off x="292608" y="7156098"/>
            <a:ext cx="3082392" cy="232459"/>
            <a:chOff x="292608" y="1013780"/>
            <a:chExt cx="3082392" cy="232459"/>
          </a:xfrm>
        </p:grpSpPr>
        <p:cxnSp>
          <p:nvCxnSpPr>
            <p:cNvPr id="1083" name="Straight Connector 1082">
              <a:extLst>
                <a:ext uri="{FF2B5EF4-FFF2-40B4-BE49-F238E27FC236}">
                  <a16:creationId xmlns:a16="http://schemas.microsoft.com/office/drawing/2014/main" id="{60BE3819-D082-A639-351A-65CA062DC3D2}"/>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4" name="Rectangle 1083">
              <a:extLst>
                <a:ext uri="{FF2B5EF4-FFF2-40B4-BE49-F238E27FC236}">
                  <a16:creationId xmlns:a16="http://schemas.microsoft.com/office/drawing/2014/main" id="{E4D9E261-3588-EE68-8686-D487FFF50BF8}"/>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Investment platform</a:t>
              </a:r>
              <a:endParaRPr lang="en-GB" sz="1000" b="1" dirty="0">
                <a:solidFill>
                  <a:schemeClr val="bg1"/>
                </a:solidFill>
                <a:latin typeface="Bierstadt"/>
              </a:endParaRPr>
            </a:p>
          </p:txBody>
        </p:sp>
      </p:grpSp>
      <p:sp>
        <p:nvSpPr>
          <p:cNvPr id="1085" name="TextBox 1084">
            <a:extLst>
              <a:ext uri="{FF2B5EF4-FFF2-40B4-BE49-F238E27FC236}">
                <a16:creationId xmlns:a16="http://schemas.microsoft.com/office/drawing/2014/main" id="{7C2F41DD-E337-96EE-5548-96B24121BCEB}"/>
              </a:ext>
            </a:extLst>
          </p:cNvPr>
          <p:cNvSpPr txBox="1"/>
          <p:nvPr/>
        </p:nvSpPr>
        <p:spPr>
          <a:xfrm>
            <a:off x="292607" y="7388557"/>
            <a:ext cx="3082392" cy="507831"/>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Kukula uses the Saxo Bank/DMA platform. Investors are responsible for the associated platform fees and transaction costs. </a:t>
            </a:r>
          </a:p>
        </p:txBody>
      </p:sp>
      <p:grpSp>
        <p:nvGrpSpPr>
          <p:cNvPr id="1089" name="Group 1088">
            <a:extLst>
              <a:ext uri="{FF2B5EF4-FFF2-40B4-BE49-F238E27FC236}">
                <a16:creationId xmlns:a16="http://schemas.microsoft.com/office/drawing/2014/main" id="{7B8D818A-58BD-DE81-8D77-CDBA489AFA18}"/>
              </a:ext>
            </a:extLst>
          </p:cNvPr>
          <p:cNvGrpSpPr/>
          <p:nvPr/>
        </p:nvGrpSpPr>
        <p:grpSpPr>
          <a:xfrm>
            <a:off x="1794357" y="7746171"/>
            <a:ext cx="747129" cy="128203"/>
            <a:chOff x="1611477" y="7746171"/>
            <a:chExt cx="747129" cy="128203"/>
          </a:xfrm>
        </p:grpSpPr>
        <p:pic>
          <p:nvPicPr>
            <p:cNvPr id="1086" name="Picture 1085">
              <a:extLst>
                <a:ext uri="{FF2B5EF4-FFF2-40B4-BE49-F238E27FC236}">
                  <a16:creationId xmlns:a16="http://schemas.microsoft.com/office/drawing/2014/main" id="{D7283381-87BF-61DF-DFA2-2DCC78B785C3}"/>
                </a:ext>
              </a:extLst>
            </p:cNvPr>
            <p:cNvPicPr>
              <a:picLocks noChangeAspect="1"/>
            </p:cNvPicPr>
            <p:nvPr/>
          </p:nvPicPr>
          <p:blipFill>
            <a:blip r:embed="rId42">
              <a:extLst>
                <a:ext uri="{BEBA8EAE-BF5A-486C-A8C5-ECC9F3942E4B}">
                  <a14:imgProps xmlns:a14="http://schemas.microsoft.com/office/drawing/2010/main">
                    <a14:imgLayer r:embed="rId43">
                      <a14:imgEffect>
                        <a14:brightnessContrast bright="100000"/>
                      </a14:imgEffect>
                    </a14:imgLayer>
                  </a14:imgProps>
                </a:ext>
              </a:extLst>
            </a:blip>
            <a:stretch>
              <a:fillRect/>
            </a:stretch>
          </p:blipFill>
          <p:spPr>
            <a:xfrm>
              <a:off x="1611477" y="7746171"/>
              <a:ext cx="295284" cy="128203"/>
            </a:xfrm>
            <a:prstGeom prst="rect">
              <a:avLst/>
            </a:prstGeom>
          </p:spPr>
        </p:pic>
        <p:pic>
          <p:nvPicPr>
            <p:cNvPr id="1088" name="Picture 1087">
              <a:extLst>
                <a:ext uri="{FF2B5EF4-FFF2-40B4-BE49-F238E27FC236}">
                  <a16:creationId xmlns:a16="http://schemas.microsoft.com/office/drawing/2014/main" id="{1BBAF1CB-2454-4A7B-FC9F-F748A4F143F1}"/>
                </a:ext>
              </a:extLst>
            </p:cNvPr>
            <p:cNvPicPr>
              <a:picLocks noChangeAspect="1"/>
            </p:cNvPicPr>
            <p:nvPr/>
          </p:nvPicPr>
          <p:blipFill>
            <a:blip r:embed="rId44">
              <a:extLst>
                <a:ext uri="{BEBA8EAE-BF5A-486C-A8C5-ECC9F3942E4B}">
                  <a14:imgProps xmlns:a14="http://schemas.microsoft.com/office/drawing/2010/main">
                    <a14:imgLayer r:embed="rId45">
                      <a14:imgEffect>
                        <a14:brightnessContrast bright="100000"/>
                      </a14:imgEffect>
                    </a14:imgLayer>
                  </a14:imgProps>
                </a:ext>
              </a:extLst>
            </a:blip>
            <a:stretch>
              <a:fillRect/>
            </a:stretch>
          </p:blipFill>
          <p:spPr>
            <a:xfrm>
              <a:off x="2002893" y="7758968"/>
              <a:ext cx="355713" cy="102609"/>
            </a:xfrm>
            <a:prstGeom prst="rect">
              <a:avLst/>
            </a:prstGeom>
          </p:spPr>
        </p:pic>
      </p:grpSp>
      <p:sp>
        <p:nvSpPr>
          <p:cNvPr id="1090" name="TextBox 1089">
            <a:extLst>
              <a:ext uri="{FF2B5EF4-FFF2-40B4-BE49-F238E27FC236}">
                <a16:creationId xmlns:a16="http://schemas.microsoft.com/office/drawing/2014/main" id="{C10D8FCD-A37B-DDE8-B950-D8BD61E35EED}"/>
              </a:ext>
            </a:extLst>
          </p:cNvPr>
          <p:cNvSpPr txBox="1"/>
          <p:nvPr/>
        </p:nvSpPr>
        <p:spPr>
          <a:xfrm>
            <a:off x="3483000" y="3878278"/>
            <a:ext cx="3082392" cy="369332"/>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Portfolios are  managed on a discretionary basis and are subject to the following fees: </a:t>
            </a:r>
          </a:p>
        </p:txBody>
      </p:sp>
      <p:graphicFrame>
        <p:nvGraphicFramePr>
          <p:cNvPr id="1092" name="FEES_TABLE">
            <a:extLst>
              <a:ext uri="{FF2B5EF4-FFF2-40B4-BE49-F238E27FC236}">
                <a16:creationId xmlns:a16="http://schemas.microsoft.com/office/drawing/2014/main" id="{D1274BE3-4EFF-76CA-8ED5-C8EF8E1C3B53}"/>
              </a:ext>
            </a:extLst>
          </p:cNvPr>
          <p:cNvGraphicFramePr>
            <a:graphicFrameLocks noGrp="1"/>
          </p:cNvGraphicFramePr>
          <p:nvPr>
            <p:extLst>
              <p:ext uri="{D42A27DB-BD31-4B8C-83A1-F6EECF244321}">
                <p14:modId xmlns:p14="http://schemas.microsoft.com/office/powerpoint/2010/main" val="3458982352"/>
              </p:ext>
            </p:extLst>
          </p:nvPr>
        </p:nvGraphicFramePr>
        <p:xfrm>
          <a:off x="3483000" y="4282627"/>
          <a:ext cx="3082392" cy="1188720"/>
        </p:xfrm>
        <a:graphic>
          <a:graphicData uri="http://schemas.openxmlformats.org/drawingml/2006/table">
            <a:tbl>
              <a:tblPr firstRow="1" bandRow="1">
                <a:tableStyleId>{2D5ABB26-0587-4C30-8999-92F81FD0307C}</a:tableStyleId>
              </a:tblPr>
              <a:tblGrid>
                <a:gridCol w="2100103">
                  <a:extLst>
                    <a:ext uri="{9D8B030D-6E8A-4147-A177-3AD203B41FA5}">
                      <a16:colId xmlns:a16="http://schemas.microsoft.com/office/drawing/2014/main" val="787351053"/>
                    </a:ext>
                  </a:extLst>
                </a:gridCol>
                <a:gridCol w="982289">
                  <a:extLst>
                    <a:ext uri="{9D8B030D-6E8A-4147-A177-3AD203B41FA5}">
                      <a16:colId xmlns:a16="http://schemas.microsoft.com/office/drawing/2014/main" val="2002166547"/>
                    </a:ext>
                  </a:extLst>
                </a:gridCol>
              </a:tblGrid>
              <a:tr h="274320">
                <a:tc>
                  <a:txBody>
                    <a:bodyPr/>
                    <a:lstStyle/>
                    <a:p>
                      <a:r>
                        <a:rPr lang="en-US" sz="900" dirty="0">
                          <a:solidFill>
                            <a:schemeClr val="bg1"/>
                          </a:solidFill>
                        </a:rPr>
                        <a:t>Annual Management Fee (Incl. VAT) </a:t>
                      </a:r>
                      <a:endParaRPr lang="en-GB" sz="900" dirty="0">
                        <a:solidFill>
                          <a:schemeClr val="bg1"/>
                        </a:solidFill>
                      </a:endParaRPr>
                    </a:p>
                  </a:txBody>
                  <a:tcPr/>
                </a:tc>
                <a:tc>
                  <a:txBody>
                    <a:bodyPr/>
                    <a:lstStyle/>
                    <a:p>
                      <a:pPr algn="ctr"/>
                      <a:r>
                        <a:rPr lang="en-GB" sz="900" dirty="0">
                          <a:solidFill>
                            <a:schemeClr val="bg1"/>
                          </a:solidFill>
                        </a:rPr>
                        <a:t>1 %</a:t>
                      </a:r>
                    </a:p>
                  </a:txBody>
                  <a:tcPr/>
                </a:tc>
                <a:extLst>
                  <a:ext uri="{0D108BD9-81ED-4DB2-BD59-A6C34878D82A}">
                    <a16:rowId xmlns:a16="http://schemas.microsoft.com/office/drawing/2014/main" val="1221449719"/>
                  </a:ext>
                </a:extLst>
              </a:tr>
              <a:tr h="274320">
                <a:tc>
                  <a:txBody>
                    <a:bodyPr/>
                    <a:lstStyle/>
                    <a:p>
                      <a:r>
                        <a:rPr lang="en-GB" sz="900">
                          <a:solidFill>
                            <a:schemeClr val="bg1"/>
                          </a:solidFill>
                        </a:rPr>
                        <a:t>Performance Fee</a:t>
                      </a:r>
                    </a:p>
                  </a:txBody>
                  <a:tcPr/>
                </a:tc>
                <a:tc>
                  <a:txBody>
                    <a:bodyPr/>
                    <a:lstStyle/>
                    <a:p>
                      <a:pPr algn="ctr"/>
                      <a:r>
                        <a:rPr lang="en-GB" sz="900">
                          <a:solidFill>
                            <a:schemeClr val="bg1"/>
                          </a:solidFill>
                        </a:rPr>
                        <a:t>None</a:t>
                      </a:r>
                    </a:p>
                  </a:txBody>
                  <a:tcPr/>
                </a:tc>
                <a:extLst>
                  <a:ext uri="{0D108BD9-81ED-4DB2-BD59-A6C34878D82A}">
                    <a16:rowId xmlns:a16="http://schemas.microsoft.com/office/drawing/2014/main" val="978931475"/>
                  </a:ext>
                </a:extLst>
              </a:tr>
              <a:tr h="274320">
                <a:tc>
                  <a:txBody>
                    <a:bodyPr/>
                    <a:lstStyle/>
                    <a:p>
                      <a:r>
                        <a:rPr lang="en-GB" sz="900">
                          <a:solidFill>
                            <a:schemeClr val="bg1"/>
                          </a:solidFill>
                        </a:rPr>
                        <a:t>Transaction Costs &amp; Commissions</a:t>
                      </a:r>
                    </a:p>
                  </a:txBody>
                  <a:tcPr/>
                </a:tc>
                <a:tc>
                  <a:txBody>
                    <a:bodyPr/>
                    <a:lstStyle/>
                    <a:p>
                      <a:pPr algn="ctr"/>
                      <a:r>
                        <a:rPr lang="en-GB" sz="900">
                          <a:solidFill>
                            <a:schemeClr val="bg1"/>
                          </a:solidFill>
                        </a:rPr>
                        <a:t>See schedule</a:t>
                      </a:r>
                    </a:p>
                  </a:txBody>
                  <a:tcPr/>
                </a:tc>
                <a:extLst>
                  <a:ext uri="{0D108BD9-81ED-4DB2-BD59-A6C34878D82A}">
                    <a16:rowId xmlns:a16="http://schemas.microsoft.com/office/drawing/2014/main" val="3512116622"/>
                  </a:ext>
                </a:extLst>
              </a:tr>
              <a:tr h="365760">
                <a:tc>
                  <a:txBody>
                    <a:bodyPr/>
                    <a:lstStyle/>
                    <a:p>
                      <a:r>
                        <a:rPr lang="en-GB" sz="900" dirty="0">
                          <a:solidFill>
                            <a:schemeClr val="bg1"/>
                          </a:solidFill>
                        </a:rPr>
                        <a:t>Platform and custodian charges</a:t>
                      </a:r>
                    </a:p>
                  </a:txBody>
                  <a:tcPr/>
                </a:tc>
                <a:tc>
                  <a:txBody>
                    <a:bodyPr/>
                    <a:lstStyle/>
                    <a:p>
                      <a:pPr algn="ctr"/>
                      <a:r>
                        <a:rPr lang="fi-FI" sz="900" dirty="0">
                          <a:solidFill>
                            <a:schemeClr val="bg1"/>
                          </a:solidFill>
                        </a:rPr>
                        <a:t>7.5 bps p.a. on NAV</a:t>
                      </a:r>
                      <a:endParaRPr lang="en-GB" sz="900" dirty="0">
                        <a:solidFill>
                          <a:schemeClr val="bg1"/>
                        </a:solidFill>
                      </a:endParaRPr>
                    </a:p>
                  </a:txBody>
                  <a:tcPr/>
                </a:tc>
                <a:extLst>
                  <a:ext uri="{0D108BD9-81ED-4DB2-BD59-A6C34878D82A}">
                    <a16:rowId xmlns:a16="http://schemas.microsoft.com/office/drawing/2014/main" val="775751832"/>
                  </a:ext>
                </a:extLst>
              </a:tr>
            </a:tbl>
          </a:graphicData>
        </a:graphic>
      </p:graphicFrame>
      <p:grpSp>
        <p:nvGrpSpPr>
          <p:cNvPr id="1093" name="Group 1092">
            <a:extLst>
              <a:ext uri="{FF2B5EF4-FFF2-40B4-BE49-F238E27FC236}">
                <a16:creationId xmlns:a16="http://schemas.microsoft.com/office/drawing/2014/main" id="{187DFE29-FCB0-4BE8-C371-3A8A6037B1EA}"/>
              </a:ext>
            </a:extLst>
          </p:cNvPr>
          <p:cNvGrpSpPr/>
          <p:nvPr/>
        </p:nvGrpSpPr>
        <p:grpSpPr>
          <a:xfrm>
            <a:off x="3483000" y="6681577"/>
            <a:ext cx="3082392" cy="232459"/>
            <a:chOff x="292608" y="1013780"/>
            <a:chExt cx="3082392" cy="232459"/>
          </a:xfrm>
        </p:grpSpPr>
        <p:cxnSp>
          <p:nvCxnSpPr>
            <p:cNvPr id="1094" name="Straight Connector 1093">
              <a:extLst>
                <a:ext uri="{FF2B5EF4-FFF2-40B4-BE49-F238E27FC236}">
                  <a16:creationId xmlns:a16="http://schemas.microsoft.com/office/drawing/2014/main" id="{8A053FAC-BB54-C262-46C1-72164E63F0EF}"/>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95" name="Rectangle 1094">
              <a:extLst>
                <a:ext uri="{FF2B5EF4-FFF2-40B4-BE49-F238E27FC236}">
                  <a16:creationId xmlns:a16="http://schemas.microsoft.com/office/drawing/2014/main" id="{253824F6-E8DB-AE96-9FCC-4482C5BC8A1E}"/>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Custody arrangement</a:t>
              </a:r>
              <a:endParaRPr lang="en-GB" sz="1000" b="1" dirty="0">
                <a:solidFill>
                  <a:schemeClr val="bg1"/>
                </a:solidFill>
                <a:latin typeface="Bierstadt"/>
              </a:endParaRPr>
            </a:p>
          </p:txBody>
        </p:sp>
      </p:grpSp>
      <p:sp>
        <p:nvSpPr>
          <p:cNvPr id="1096" name="TextBox 1095">
            <a:extLst>
              <a:ext uri="{FF2B5EF4-FFF2-40B4-BE49-F238E27FC236}">
                <a16:creationId xmlns:a16="http://schemas.microsoft.com/office/drawing/2014/main" id="{DC300D0E-2855-8FE4-958F-C4D783103B35}"/>
              </a:ext>
            </a:extLst>
          </p:cNvPr>
          <p:cNvSpPr txBox="1"/>
          <p:nvPr/>
        </p:nvSpPr>
        <p:spPr>
          <a:xfrm>
            <a:off x="3483000" y="6914036"/>
            <a:ext cx="3082392" cy="923330"/>
          </a:xfrm>
          <a:prstGeom prst="rect">
            <a:avLst/>
          </a:prstGeom>
          <a:noFill/>
        </p:spPr>
        <p:txBody>
          <a:bodyPr wrap="square" rtlCol="0">
            <a:spAutoFit/>
          </a:bodyPr>
          <a:lstStyle/>
          <a:p>
            <a:pPr lvl="0" algn="just">
              <a:defRPr/>
            </a:pPr>
            <a:r>
              <a:rPr lang="en-US" sz="900" dirty="0">
                <a:solidFill>
                  <a:schemeClr val="bg1"/>
                </a:solidFill>
                <a:latin typeface="Bierstadt" panose="020B0004020202020204" pitchFamily="34" charset="0"/>
                <a:cs typeface="Helvetica" panose="020B0604020202020204" pitchFamily="34" charset="0"/>
              </a:rPr>
              <a:t>All securities are held with CITI Group in the name of Saxo Bank and segregated in the name of DMA Mauritius. A full sub-register is maintained for the beneficial owner of the assets, which are reported live via the available platforms. Positions are settled daily and reconciled against the custodian.</a:t>
            </a:r>
          </a:p>
        </p:txBody>
      </p:sp>
      <p:pic>
        <p:nvPicPr>
          <p:cNvPr id="1097" name="Picture 1096">
            <a:extLst>
              <a:ext uri="{FF2B5EF4-FFF2-40B4-BE49-F238E27FC236}">
                <a16:creationId xmlns:a16="http://schemas.microsoft.com/office/drawing/2014/main" id="{0034B60D-EAD9-43F5-0AC7-B3BF7ADD7D6C}"/>
              </a:ext>
            </a:extLst>
          </p:cNvPr>
          <p:cNvPicPr>
            <a:picLocks noChangeAspect="1"/>
          </p:cNvPicPr>
          <p:nvPr/>
        </p:nvPicPr>
        <p:blipFill>
          <a:blip r:embed="rId46">
            <a:extLst>
              <a:ext uri="{BEBA8EAE-BF5A-486C-A8C5-ECC9F3942E4B}">
                <a14:imgProps xmlns:a14="http://schemas.microsoft.com/office/drawing/2010/main">
                  <a14:imgLayer r:embed="rId47">
                    <a14:imgEffect>
                      <a14:brightnessContrast bright="100000"/>
                    </a14:imgEffect>
                  </a14:imgLayer>
                </a14:imgProps>
              </a:ext>
            </a:extLst>
          </a:blip>
          <a:stretch>
            <a:fillRect/>
          </a:stretch>
        </p:blipFill>
        <p:spPr>
          <a:xfrm>
            <a:off x="4176124" y="7694086"/>
            <a:ext cx="268440" cy="174381"/>
          </a:xfrm>
          <a:prstGeom prst="rect">
            <a:avLst/>
          </a:prstGeom>
        </p:spPr>
      </p:pic>
      <p:grpSp>
        <p:nvGrpSpPr>
          <p:cNvPr id="8" name="Group 7">
            <a:extLst>
              <a:ext uri="{FF2B5EF4-FFF2-40B4-BE49-F238E27FC236}">
                <a16:creationId xmlns:a16="http://schemas.microsoft.com/office/drawing/2014/main" id="{CA34CC3D-ECA9-657D-4BE5-07CA9BF1A4DF}"/>
              </a:ext>
            </a:extLst>
          </p:cNvPr>
          <p:cNvGrpSpPr/>
          <p:nvPr/>
        </p:nvGrpSpPr>
        <p:grpSpPr>
          <a:xfrm>
            <a:off x="3483000" y="5394543"/>
            <a:ext cx="3082392" cy="232459"/>
            <a:chOff x="292608" y="1013780"/>
            <a:chExt cx="3082392" cy="232459"/>
          </a:xfrm>
        </p:grpSpPr>
        <p:cxnSp>
          <p:nvCxnSpPr>
            <p:cNvPr id="9" name="Straight Connector 8">
              <a:extLst>
                <a:ext uri="{FF2B5EF4-FFF2-40B4-BE49-F238E27FC236}">
                  <a16:creationId xmlns:a16="http://schemas.microsoft.com/office/drawing/2014/main" id="{62287BB3-EB82-E44D-C789-987308439917}"/>
                </a:ext>
              </a:extLst>
            </p:cNvPr>
            <p:cNvCxnSpPr/>
            <p:nvPr/>
          </p:nvCxnSpPr>
          <p:spPr>
            <a:xfrm>
              <a:off x="292608" y="1246239"/>
              <a:ext cx="3082392" cy="0"/>
            </a:xfrm>
            <a:prstGeom prst="line">
              <a:avLst/>
            </a:prstGeom>
            <a:ln>
              <a:gradFill flip="none" rotWithShape="1">
                <a:gsLst>
                  <a:gs pos="0">
                    <a:schemeClr val="accent1"/>
                  </a:gs>
                  <a:gs pos="79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2993028-7690-328C-2008-71AD6E6070DF}"/>
                </a:ext>
              </a:extLst>
            </p:cNvPr>
            <p:cNvSpPr/>
            <p:nvPr/>
          </p:nvSpPr>
          <p:spPr>
            <a:xfrm>
              <a:off x="292608" y="1013780"/>
              <a:ext cx="2540000" cy="23245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r>
                <a:rPr lang="en-US" sz="1000" b="1" dirty="0">
                  <a:solidFill>
                    <a:schemeClr val="bg1"/>
                  </a:solidFill>
                  <a:latin typeface="Bierstadt"/>
                </a:rPr>
                <a:t>Risk profile: Moderate to high</a:t>
              </a:r>
            </a:p>
          </p:txBody>
        </p:sp>
      </p:grpSp>
      <p:sp>
        <p:nvSpPr>
          <p:cNvPr id="15" name="TextBox 14">
            <a:extLst>
              <a:ext uri="{FF2B5EF4-FFF2-40B4-BE49-F238E27FC236}">
                <a16:creationId xmlns:a16="http://schemas.microsoft.com/office/drawing/2014/main" id="{BB650FBF-C6E6-1B4B-B096-B08DF6A76B9F}"/>
              </a:ext>
            </a:extLst>
          </p:cNvPr>
          <p:cNvSpPr txBox="1"/>
          <p:nvPr/>
        </p:nvSpPr>
        <p:spPr>
          <a:xfrm>
            <a:off x="3482999" y="5640856"/>
            <a:ext cx="3082392" cy="1061829"/>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The portfolio invests exclusively in equiti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Suitable for medium- to long-term investment horiz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Exposed to market risk and broader economic fluctu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chemeClr val="bg1"/>
                </a:solidFill>
                <a:effectLst/>
                <a:uLnTx/>
                <a:uFillTx/>
                <a:latin typeface="Bierstadt" panose="020B0004020202020204" pitchFamily="34" charset="0"/>
                <a:cs typeface="Helvetica" panose="020B0604020202020204" pitchFamily="34" charset="0"/>
              </a:rPr>
              <a:t>Offshore holdings may introduce additional currency risk.</a:t>
            </a:r>
          </a:p>
        </p:txBody>
      </p:sp>
      <p:graphicFrame>
        <p:nvGraphicFramePr>
          <p:cNvPr id="19" name="PIE_SECTOR">
            <a:extLst>
              <a:ext uri="{FF2B5EF4-FFF2-40B4-BE49-F238E27FC236}">
                <a16:creationId xmlns:a16="http://schemas.microsoft.com/office/drawing/2014/main" id="{D2CBA324-1F53-F6AE-B7AD-2A492A5AEB03}"/>
              </a:ext>
            </a:extLst>
          </p:cNvPr>
          <p:cNvGraphicFramePr/>
          <p:nvPr>
            <p:extLst>
              <p:ext uri="{D42A27DB-BD31-4B8C-83A1-F6EECF244321}">
                <p14:modId xmlns:p14="http://schemas.microsoft.com/office/powerpoint/2010/main" val="2313099284"/>
              </p:ext>
            </p:extLst>
          </p:nvPr>
        </p:nvGraphicFramePr>
        <p:xfrm>
          <a:off x="179636" y="1369215"/>
          <a:ext cx="3308336" cy="2599281"/>
        </p:xfrm>
        <a:graphic>
          <a:graphicData uri="http://schemas.openxmlformats.org/drawingml/2006/chart">
            <c:chart xmlns:c="http://schemas.openxmlformats.org/drawingml/2006/chart" xmlns:r="http://schemas.openxmlformats.org/officeDocument/2006/relationships" r:id="rId48"/>
          </a:graphicData>
        </a:graphic>
      </p:graphicFrame>
      <p:graphicFrame>
        <p:nvGraphicFramePr>
          <p:cNvPr id="24" name="PIE_REGION">
            <a:extLst>
              <a:ext uri="{FF2B5EF4-FFF2-40B4-BE49-F238E27FC236}">
                <a16:creationId xmlns:a16="http://schemas.microsoft.com/office/drawing/2014/main" id="{5A1279A8-4FC1-1BCB-FBA4-B5D2FDD41E17}"/>
              </a:ext>
            </a:extLst>
          </p:cNvPr>
          <p:cNvGraphicFramePr/>
          <p:nvPr>
            <p:extLst>
              <p:ext uri="{D42A27DB-BD31-4B8C-83A1-F6EECF244321}">
                <p14:modId xmlns:p14="http://schemas.microsoft.com/office/powerpoint/2010/main" val="2252226221"/>
              </p:ext>
            </p:extLst>
          </p:nvPr>
        </p:nvGraphicFramePr>
        <p:xfrm>
          <a:off x="3370028" y="1369215"/>
          <a:ext cx="3308336" cy="2599281"/>
        </p:xfrm>
        <a:graphic>
          <a:graphicData uri="http://schemas.openxmlformats.org/drawingml/2006/chart">
            <c:chart xmlns:c="http://schemas.openxmlformats.org/drawingml/2006/chart" xmlns:r="http://schemas.openxmlformats.org/officeDocument/2006/relationships" r:id="rId49"/>
          </a:graphicData>
        </a:graphic>
      </p:graphicFrame>
    </p:spTree>
    <p:extLst>
      <p:ext uri="{BB962C8B-B14F-4D97-AF65-F5344CB8AC3E}">
        <p14:creationId xmlns:p14="http://schemas.microsoft.com/office/powerpoint/2010/main" val="2308560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Kukula capital">
      <a:dk1>
        <a:srgbClr val="000000"/>
      </a:dk1>
      <a:lt1>
        <a:srgbClr val="FFFFFF"/>
      </a:lt1>
      <a:dk2>
        <a:srgbClr val="A6A6A6"/>
      </a:dk2>
      <a:lt2>
        <a:srgbClr val="F2F2F2"/>
      </a:lt2>
      <a:accent1>
        <a:srgbClr val="466835"/>
      </a:accent1>
      <a:accent2>
        <a:srgbClr val="A6A6A6"/>
      </a:accent2>
      <a:accent3>
        <a:srgbClr val="F2F2F2"/>
      </a:accent3>
      <a:accent4>
        <a:srgbClr val="E2F0D9"/>
      </a:accent4>
      <a:accent5>
        <a:srgbClr val="549E39"/>
      </a:accent5>
      <a:accent6>
        <a:srgbClr val="385723"/>
      </a:accent6>
      <a:hlink>
        <a:srgbClr val="000000"/>
      </a:hlink>
      <a:folHlink>
        <a:srgbClr val="00000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C79DDE9-9681-4839-A726-05A6EE002B45}">
  <we:reference id="wa104381063" version="1.0.0.1" store="en-US" storeType="OMEX"/>
  <we:alternateReferences>
    <we:reference id="WA104381063" version="1.0.0.1" store="da-DK"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Office Theme</Template>
  <TotalTime>3443</TotalTime>
  <Words>1064</Words>
  <Application>Microsoft Office PowerPoint</Application>
  <PresentationFormat>A4 Paper (210x297 mm)</PresentationFormat>
  <Paragraphs>279</Paragraphs>
  <Slides>2</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vt:i4>
      </vt:variant>
    </vt:vector>
  </HeadingPairs>
  <TitlesOfParts>
    <vt:vector size="9" baseType="lpstr">
      <vt:lpstr>Arial</vt:lpstr>
      <vt:lpstr>Bierstadt</vt:lpstr>
      <vt:lpstr>Calibri</vt:lpstr>
      <vt:lpstr>Calibri Light</vt:lpstr>
      <vt:lpstr>Helvetica</vt:lpstr>
      <vt:lpstr>Skeena</vt:lpstr>
      <vt:lpstr>Office Them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us Bak</dc:creator>
  <cp:lastModifiedBy>Henning Olweus - Implement Consulting Group</cp:lastModifiedBy>
  <cp:revision>22</cp:revision>
  <dcterms:created xsi:type="dcterms:W3CDTF">2021-05-24T08:47:30Z</dcterms:created>
  <dcterms:modified xsi:type="dcterms:W3CDTF">2025-10-29T13:48:59Z</dcterms:modified>
</cp:coreProperties>
</file>